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4"/>
  </p:notesMasterIdLst>
  <p:sldIdLst>
    <p:sldId id="412" r:id="rId5"/>
    <p:sldId id="399" r:id="rId6"/>
    <p:sldId id="376" r:id="rId8"/>
    <p:sldId id="413" r:id="rId9"/>
    <p:sldId id="378" r:id="rId10"/>
    <p:sldId id="377" r:id="rId11"/>
    <p:sldId id="379" r:id="rId12"/>
    <p:sldId id="380" r:id="rId13"/>
    <p:sldId id="404" r:id="rId14"/>
    <p:sldId id="414" r:id="rId15"/>
    <p:sldId id="382" r:id="rId16"/>
    <p:sldId id="422" r:id="rId17"/>
    <p:sldId id="384" r:id="rId18"/>
    <p:sldId id="385" r:id="rId19"/>
    <p:sldId id="389" r:id="rId20"/>
    <p:sldId id="420" r:id="rId21"/>
    <p:sldId id="423" r:id="rId22"/>
    <p:sldId id="409" r:id="rId23"/>
    <p:sldId id="419" r:id="rId24"/>
    <p:sldId id="421" r:id="rId25"/>
    <p:sldId id="396" r:id="rId26"/>
    <p:sldId id="395" r:id="rId27"/>
    <p:sldId id="397" r:id="rId28"/>
    <p:sldId id="398" r:id="rId29"/>
    <p:sldId id="416" r:id="rId30"/>
    <p:sldId id="364" r:id="rId31"/>
    <p:sldId id="417" r:id="rId32"/>
    <p:sldId id="418"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2"/>
            <p14:sldId id="399"/>
            <p14:sldId id="410"/>
          </p14:sldIdLst>
        </p14:section>
        <p14:section name="Content pages" id="{7E28E96D-50B7-3247-AD53-91BDC15BF350}">
          <p14:sldIdLst>
            <p14:sldId id="376"/>
            <p14:sldId id="413"/>
            <p14:sldId id="378"/>
            <p14:sldId id="377"/>
            <p14:sldId id="379"/>
            <p14:sldId id="380"/>
            <p14:sldId id="404"/>
            <p14:sldId id="414"/>
            <p14:sldId id="382"/>
            <p14:sldId id="422"/>
            <p14:sldId id="384"/>
            <p14:sldId id="385"/>
            <p14:sldId id="389"/>
            <p14:sldId id="420"/>
            <p14:sldId id="423"/>
            <p14:sldId id="409"/>
            <p14:sldId id="419"/>
            <p14:sldId id="421"/>
            <p14:sldId id="396"/>
            <p14:sldId id="395"/>
            <p14:sldId id="397"/>
            <p14:sldId id="398"/>
            <p14:sldId id="416"/>
            <p14:sldId id="364"/>
            <p14:sldId id="417"/>
            <p14:sldId id="4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180A8B-FA3B-490D-B149-7478CDDEEC13}" v="61" dt="2021-06-30T17:42:04.809"/>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9" autoAdjust="0"/>
    <p:restoredTop sz="85008" autoAdjust="0"/>
  </p:normalViewPr>
  <p:slideViewPr>
    <p:cSldViewPr snapToGrid="0">
      <p:cViewPr varScale="1">
        <p:scale>
          <a:sx n="85" d="100"/>
          <a:sy n="85" d="100"/>
        </p:scale>
        <p:origin x="48" y="67"/>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tableStyles" Target="tableStyles.xml" Id="rId39"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notesMaster" Target="notesMasters/notesMaster1.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theme" Target="theme/theme1.xml" Id="rId38"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viewProps" Target="viewProps.xml" Id="rId37" /><Relationship Type="http://schemas.microsoft.com/office/2015/10/relationships/revisionInfo" Target="revisionInfo.xml" Id="rId40"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presProps" Target="presProps.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tags" Target="tags/tag1.xml" Id="rId35" /></Relationships>
</file>

<file path=ppt/diagrams/_rels/data6.xml.rels><?xml version="1.0" encoding="UTF-8" standalone="yes"?>
<Relationships xmlns="http://schemas.openxmlformats.org/package/2006/relationships"><Relationship Id="rId3" Type="http://schemas.openxmlformats.org/officeDocument/2006/relationships/hyperlink" Target="https://contoso.sharepoint.com/sites/sitetoremove" TargetMode="External"/><Relationship Id="rId2" Type="http://schemas.openxmlformats.org/officeDocument/2006/relationships/hyperlink" Target="https://contoso.sharepoint.com/sites/marketing" TargetMode="External"/><Relationship Id="rId1" Type="http://schemas.openxmlformats.org/officeDocument/2006/relationships/hyperlink" Target="http://contoso.sharepoint.com/sites/marketing" TargetMode="External"/></Relationships>
</file>

<file path=ppt/diagrams/_rels/drawing6.xml.rels><?xml version="1.0" encoding="UTF-8" standalone="yes"?>
<Relationships xmlns="http://schemas.openxmlformats.org/package/2006/relationships"><Relationship Id="rId3" Type="http://schemas.openxmlformats.org/officeDocument/2006/relationships/hyperlink" Target="https://contoso.sharepoint.com/sites/sitetoremove" TargetMode="External"/><Relationship Id="rId2" Type="http://schemas.openxmlformats.org/officeDocument/2006/relationships/hyperlink" Target="https://contoso.sharepoint.com/sites/marketing" TargetMode="External"/><Relationship Id="rId1" Type="http://schemas.openxmlformats.org/officeDocument/2006/relationships/hyperlink" Target="http://contoso.sharepoint.com/sites/marketing"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61CEB3-3143-4CA7-87CB-586DA5276EB6}"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A9B5C3B0-74E3-4D5C-872D-95384BA326E2}">
      <dgm:prSet custT="1"/>
      <dgm:spPr/>
      <dgm:t>
        <a:bodyPr/>
        <a:lstStyle/>
        <a:p>
          <a:r>
            <a:rPr lang="en-IN" sz="4000" dirty="0"/>
            <a:t>Connect-</a:t>
          </a:r>
          <a:r>
            <a:rPr lang="en-IN" sz="4000" dirty="0" err="1"/>
            <a:t>SPOService</a:t>
          </a:r>
          <a:r>
            <a:rPr lang="en-IN" sz="4000" dirty="0"/>
            <a:t> </a:t>
          </a:r>
          <a:endParaRPr lang="en-US" sz="4000" dirty="0"/>
        </a:p>
      </dgm:t>
    </dgm:pt>
    <dgm:pt modelId="{7F592658-8D04-42D5-9FBE-6E1D16CC5261}" type="parTrans" cxnId="{1E5C07EA-C724-4923-B6E5-B35F1187E9B9}">
      <dgm:prSet/>
      <dgm:spPr/>
      <dgm:t>
        <a:bodyPr/>
        <a:lstStyle/>
        <a:p>
          <a:endParaRPr lang="en-US"/>
        </a:p>
      </dgm:t>
    </dgm:pt>
    <dgm:pt modelId="{B95D7ACE-91A1-428A-B90D-CBB7444BAE9F}" type="sibTrans" cxnId="{1E5C07EA-C724-4923-B6E5-B35F1187E9B9}">
      <dgm:prSet/>
      <dgm:spPr/>
      <dgm:t>
        <a:bodyPr/>
        <a:lstStyle/>
        <a:p>
          <a:endParaRPr lang="en-US"/>
        </a:p>
      </dgm:t>
    </dgm:pt>
    <dgm:pt modelId="{61D90AAD-633C-4E93-A5DB-6962EBBE0121}">
      <dgm:prSet custT="1"/>
      <dgm:spPr/>
      <dgm:t>
        <a:bodyPr/>
        <a:lstStyle/>
        <a:p>
          <a:r>
            <a:rPr lang="en-IN" sz="2800" dirty="0"/>
            <a:t>Connect-</a:t>
          </a:r>
          <a:r>
            <a:rPr lang="en-IN" sz="2800" dirty="0" err="1"/>
            <a:t>SPOService</a:t>
          </a:r>
          <a:r>
            <a:rPr lang="en-IN" sz="2800" dirty="0"/>
            <a:t> -</a:t>
          </a:r>
          <a:r>
            <a:rPr lang="en-IN" sz="2800" dirty="0" err="1"/>
            <a:t>Url</a:t>
          </a:r>
          <a:r>
            <a:rPr lang="en-IN" sz="2800" dirty="0"/>
            <a:t> https://contoso-admin.sharepoint.com</a:t>
          </a:r>
          <a:endParaRPr lang="en-US" sz="2800" dirty="0"/>
        </a:p>
      </dgm:t>
    </dgm:pt>
    <dgm:pt modelId="{AC0F898A-F508-49DF-BAAD-CA5E0E234448}" type="parTrans" cxnId="{17824E8F-9245-4CD8-9ACF-E94B2589F14D}">
      <dgm:prSet/>
      <dgm:spPr/>
      <dgm:t>
        <a:bodyPr/>
        <a:lstStyle/>
        <a:p>
          <a:endParaRPr lang="en-US"/>
        </a:p>
      </dgm:t>
    </dgm:pt>
    <dgm:pt modelId="{69DD3E2F-B160-47F4-B43C-52087DF7EA47}" type="sibTrans" cxnId="{17824E8F-9245-4CD8-9ACF-E94B2589F14D}">
      <dgm:prSet/>
      <dgm:spPr/>
      <dgm:t>
        <a:bodyPr/>
        <a:lstStyle/>
        <a:p>
          <a:endParaRPr lang="en-US"/>
        </a:p>
      </dgm:t>
    </dgm:pt>
    <dgm:pt modelId="{0ACEE1A2-7D4D-448A-B6D3-FB635EDDBC83}">
      <dgm:prSet custT="1"/>
      <dgm:spPr/>
      <dgm:t>
        <a:bodyPr/>
        <a:lstStyle/>
        <a:p>
          <a:r>
            <a:rPr lang="en-IN" sz="4000" dirty="0"/>
            <a:t>Disconnect-</a:t>
          </a:r>
          <a:r>
            <a:rPr lang="en-IN" sz="4000" dirty="0" err="1"/>
            <a:t>SPOService</a:t>
          </a:r>
          <a:r>
            <a:rPr lang="en-IN" sz="4000" dirty="0"/>
            <a:t> </a:t>
          </a:r>
          <a:endParaRPr lang="en-US" sz="4000" dirty="0"/>
        </a:p>
      </dgm:t>
    </dgm:pt>
    <dgm:pt modelId="{38B9C863-903C-4BEC-B31E-675AF2E9C495}" type="parTrans" cxnId="{4B123C7C-5579-47E8-B6A9-38009B53D1A0}">
      <dgm:prSet/>
      <dgm:spPr/>
      <dgm:t>
        <a:bodyPr/>
        <a:lstStyle/>
        <a:p>
          <a:endParaRPr lang="en-US"/>
        </a:p>
      </dgm:t>
    </dgm:pt>
    <dgm:pt modelId="{5FB415BD-AB1A-4F5E-B4D2-6E40FE0CB868}" type="sibTrans" cxnId="{4B123C7C-5579-47E8-B6A9-38009B53D1A0}">
      <dgm:prSet/>
      <dgm:spPr/>
      <dgm:t>
        <a:bodyPr/>
        <a:lstStyle/>
        <a:p>
          <a:endParaRPr lang="en-US"/>
        </a:p>
      </dgm:t>
    </dgm:pt>
    <dgm:pt modelId="{9BB558B8-3A1F-4F33-B091-C6746CE0F69E}">
      <dgm:prSet custT="1"/>
      <dgm:spPr/>
      <dgm:t>
        <a:bodyPr/>
        <a:lstStyle/>
        <a:p>
          <a:r>
            <a:rPr lang="en-IN" sz="2800" dirty="0"/>
            <a:t>Disconnect-</a:t>
          </a:r>
          <a:r>
            <a:rPr lang="en-IN" sz="2800" dirty="0" err="1"/>
            <a:t>SPOService</a:t>
          </a:r>
          <a:endParaRPr lang="en-US" sz="2800" dirty="0"/>
        </a:p>
      </dgm:t>
    </dgm:pt>
    <dgm:pt modelId="{EB556E04-F28E-4FC2-B79F-8CDA0D7FC4D4}" type="parTrans" cxnId="{66CDE804-7E73-4230-A596-360EBB924C2C}">
      <dgm:prSet/>
      <dgm:spPr/>
      <dgm:t>
        <a:bodyPr/>
        <a:lstStyle/>
        <a:p>
          <a:endParaRPr lang="en-US"/>
        </a:p>
      </dgm:t>
    </dgm:pt>
    <dgm:pt modelId="{D8CB1347-BA36-448F-B88E-C585613FF075}" type="sibTrans" cxnId="{66CDE804-7E73-4230-A596-360EBB924C2C}">
      <dgm:prSet/>
      <dgm:spPr/>
      <dgm:t>
        <a:bodyPr/>
        <a:lstStyle/>
        <a:p>
          <a:endParaRPr lang="en-US"/>
        </a:p>
      </dgm:t>
    </dgm:pt>
    <dgm:pt modelId="{1AC2F7A2-9736-4535-8EB3-A13D28015BCF}" type="pres">
      <dgm:prSet presAssocID="{0D61CEB3-3143-4CA7-87CB-586DA5276EB6}" presName="Name0" presStyleCnt="0">
        <dgm:presLayoutVars>
          <dgm:dir/>
          <dgm:animLvl val="lvl"/>
          <dgm:resizeHandles val="exact"/>
        </dgm:presLayoutVars>
      </dgm:prSet>
      <dgm:spPr/>
    </dgm:pt>
    <dgm:pt modelId="{5CD402C1-3F50-46F4-ADB2-F0D574745308}" type="pres">
      <dgm:prSet presAssocID="{A9B5C3B0-74E3-4D5C-872D-95384BA326E2}" presName="linNode" presStyleCnt="0"/>
      <dgm:spPr/>
    </dgm:pt>
    <dgm:pt modelId="{B0B6949E-1BB0-44DD-8F73-2D3B1A2D75E8}" type="pres">
      <dgm:prSet presAssocID="{A9B5C3B0-74E3-4D5C-872D-95384BA326E2}" presName="parentText" presStyleLbl="node1" presStyleIdx="0" presStyleCnt="2">
        <dgm:presLayoutVars>
          <dgm:chMax val="1"/>
          <dgm:bulletEnabled val="1"/>
        </dgm:presLayoutVars>
      </dgm:prSet>
      <dgm:spPr/>
    </dgm:pt>
    <dgm:pt modelId="{5062D471-9881-49C6-895F-1A85363633F3}" type="pres">
      <dgm:prSet presAssocID="{A9B5C3B0-74E3-4D5C-872D-95384BA326E2}" presName="descendantText" presStyleLbl="alignAccFollowNode1" presStyleIdx="0" presStyleCnt="2">
        <dgm:presLayoutVars>
          <dgm:bulletEnabled val="1"/>
        </dgm:presLayoutVars>
      </dgm:prSet>
      <dgm:spPr/>
    </dgm:pt>
    <dgm:pt modelId="{F81D9965-F40F-43BD-8AF8-9C497193A4FA}" type="pres">
      <dgm:prSet presAssocID="{B95D7ACE-91A1-428A-B90D-CBB7444BAE9F}" presName="sp" presStyleCnt="0"/>
      <dgm:spPr/>
    </dgm:pt>
    <dgm:pt modelId="{62B1D71E-8284-47EA-9611-A751B1340CD8}" type="pres">
      <dgm:prSet presAssocID="{0ACEE1A2-7D4D-448A-B6D3-FB635EDDBC83}" presName="linNode" presStyleCnt="0"/>
      <dgm:spPr/>
    </dgm:pt>
    <dgm:pt modelId="{522FA9D8-1B3E-49FA-8926-F750961608DE}" type="pres">
      <dgm:prSet presAssocID="{0ACEE1A2-7D4D-448A-B6D3-FB635EDDBC83}" presName="parentText" presStyleLbl="node1" presStyleIdx="1" presStyleCnt="2">
        <dgm:presLayoutVars>
          <dgm:chMax val="1"/>
          <dgm:bulletEnabled val="1"/>
        </dgm:presLayoutVars>
      </dgm:prSet>
      <dgm:spPr/>
    </dgm:pt>
    <dgm:pt modelId="{9F5EE5AE-4BF4-44E2-B0D1-FB764E2A97FD}" type="pres">
      <dgm:prSet presAssocID="{0ACEE1A2-7D4D-448A-B6D3-FB635EDDBC83}" presName="descendantText" presStyleLbl="alignAccFollowNode1" presStyleIdx="1" presStyleCnt="2">
        <dgm:presLayoutVars>
          <dgm:bulletEnabled val="1"/>
        </dgm:presLayoutVars>
      </dgm:prSet>
      <dgm:spPr/>
    </dgm:pt>
  </dgm:ptLst>
  <dgm:cxnLst>
    <dgm:cxn modelId="{C257E903-AE66-4C60-AE8E-F314116A950D}" type="presOf" srcId="{0D61CEB3-3143-4CA7-87CB-586DA5276EB6}" destId="{1AC2F7A2-9736-4535-8EB3-A13D28015BCF}" srcOrd="0" destOrd="0" presId="urn:microsoft.com/office/officeart/2005/8/layout/vList5"/>
    <dgm:cxn modelId="{66CDE804-7E73-4230-A596-360EBB924C2C}" srcId="{0ACEE1A2-7D4D-448A-B6D3-FB635EDDBC83}" destId="{9BB558B8-3A1F-4F33-B091-C6746CE0F69E}" srcOrd="0" destOrd="0" parTransId="{EB556E04-F28E-4FC2-B79F-8CDA0D7FC4D4}" sibTransId="{D8CB1347-BA36-448F-B88E-C585613FF075}"/>
    <dgm:cxn modelId="{0C9BA10E-95EB-4802-9019-03C0A5B64248}" type="presOf" srcId="{61D90AAD-633C-4E93-A5DB-6962EBBE0121}" destId="{5062D471-9881-49C6-895F-1A85363633F3}" srcOrd="0" destOrd="0" presId="urn:microsoft.com/office/officeart/2005/8/layout/vList5"/>
    <dgm:cxn modelId="{46BB9C16-5E6A-4BD8-BBFB-CD16D25E3D90}" type="presOf" srcId="{9BB558B8-3A1F-4F33-B091-C6746CE0F69E}" destId="{9F5EE5AE-4BF4-44E2-B0D1-FB764E2A97FD}" srcOrd="0" destOrd="0" presId="urn:microsoft.com/office/officeart/2005/8/layout/vList5"/>
    <dgm:cxn modelId="{207D2227-2C74-4C56-82CC-680FBD4DB878}" type="presOf" srcId="{A9B5C3B0-74E3-4D5C-872D-95384BA326E2}" destId="{B0B6949E-1BB0-44DD-8F73-2D3B1A2D75E8}" srcOrd="0" destOrd="0" presId="urn:microsoft.com/office/officeart/2005/8/layout/vList5"/>
    <dgm:cxn modelId="{4B123C7C-5579-47E8-B6A9-38009B53D1A0}" srcId="{0D61CEB3-3143-4CA7-87CB-586DA5276EB6}" destId="{0ACEE1A2-7D4D-448A-B6D3-FB635EDDBC83}" srcOrd="1" destOrd="0" parTransId="{38B9C863-903C-4BEC-B31E-675AF2E9C495}" sibTransId="{5FB415BD-AB1A-4F5E-B4D2-6E40FE0CB868}"/>
    <dgm:cxn modelId="{17824E8F-9245-4CD8-9ACF-E94B2589F14D}" srcId="{A9B5C3B0-74E3-4D5C-872D-95384BA326E2}" destId="{61D90AAD-633C-4E93-A5DB-6962EBBE0121}" srcOrd="0" destOrd="0" parTransId="{AC0F898A-F508-49DF-BAAD-CA5E0E234448}" sibTransId="{69DD3E2F-B160-47F4-B43C-52087DF7EA47}"/>
    <dgm:cxn modelId="{1BCC44C4-51BB-49DB-A76C-C1FD3237E3AB}" type="presOf" srcId="{0ACEE1A2-7D4D-448A-B6D3-FB635EDDBC83}" destId="{522FA9D8-1B3E-49FA-8926-F750961608DE}" srcOrd="0" destOrd="0" presId="urn:microsoft.com/office/officeart/2005/8/layout/vList5"/>
    <dgm:cxn modelId="{1E5C07EA-C724-4923-B6E5-B35F1187E9B9}" srcId="{0D61CEB3-3143-4CA7-87CB-586DA5276EB6}" destId="{A9B5C3B0-74E3-4D5C-872D-95384BA326E2}" srcOrd="0" destOrd="0" parTransId="{7F592658-8D04-42D5-9FBE-6E1D16CC5261}" sibTransId="{B95D7ACE-91A1-428A-B90D-CBB7444BAE9F}"/>
    <dgm:cxn modelId="{7012E1D0-8E72-4EA7-9917-2723E49BA920}" type="presParOf" srcId="{1AC2F7A2-9736-4535-8EB3-A13D28015BCF}" destId="{5CD402C1-3F50-46F4-ADB2-F0D574745308}" srcOrd="0" destOrd="0" presId="urn:microsoft.com/office/officeart/2005/8/layout/vList5"/>
    <dgm:cxn modelId="{B8350B5F-34BF-4FE1-877D-A50C644E2B6F}" type="presParOf" srcId="{5CD402C1-3F50-46F4-ADB2-F0D574745308}" destId="{B0B6949E-1BB0-44DD-8F73-2D3B1A2D75E8}" srcOrd="0" destOrd="0" presId="urn:microsoft.com/office/officeart/2005/8/layout/vList5"/>
    <dgm:cxn modelId="{0239ECB3-D468-480E-A5A3-9EF4EB5AC002}" type="presParOf" srcId="{5CD402C1-3F50-46F4-ADB2-F0D574745308}" destId="{5062D471-9881-49C6-895F-1A85363633F3}" srcOrd="1" destOrd="0" presId="urn:microsoft.com/office/officeart/2005/8/layout/vList5"/>
    <dgm:cxn modelId="{74301EFC-14DE-4694-9ECE-BB7B0505090A}" type="presParOf" srcId="{1AC2F7A2-9736-4535-8EB3-A13D28015BCF}" destId="{F81D9965-F40F-43BD-8AF8-9C497193A4FA}" srcOrd="1" destOrd="0" presId="urn:microsoft.com/office/officeart/2005/8/layout/vList5"/>
    <dgm:cxn modelId="{53116D36-E7C5-4ACF-B316-0F7CB9D3641D}" type="presParOf" srcId="{1AC2F7A2-9736-4535-8EB3-A13D28015BCF}" destId="{62B1D71E-8284-47EA-9611-A751B1340CD8}" srcOrd="2" destOrd="0" presId="urn:microsoft.com/office/officeart/2005/8/layout/vList5"/>
    <dgm:cxn modelId="{9166CA34-5FC2-4C4C-ADB8-1D16977A8318}" type="presParOf" srcId="{62B1D71E-8284-47EA-9611-A751B1340CD8}" destId="{522FA9D8-1B3E-49FA-8926-F750961608DE}" srcOrd="0" destOrd="0" presId="urn:microsoft.com/office/officeart/2005/8/layout/vList5"/>
    <dgm:cxn modelId="{38BD7E50-BEB7-46BE-B193-B0293A9E890C}" type="presParOf" srcId="{62B1D71E-8284-47EA-9611-A751B1340CD8}" destId="{9F5EE5AE-4BF4-44E2-B0D1-FB764E2A97F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9201D6-B0B4-424F-9EBF-D3577B1AD91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F1CD8A8C-1C3F-4D67-BB8B-2C8081360F7E}">
      <dgm:prSet/>
      <dgm:spPr/>
      <dgm:t>
        <a:bodyPr/>
        <a:lstStyle/>
        <a:p>
          <a:r>
            <a:rPr lang="en-US" dirty="0"/>
            <a:t>Add-</a:t>
          </a:r>
          <a:r>
            <a:rPr lang="en-US" dirty="0" err="1"/>
            <a:t>SPOTenantCdnOrigin</a:t>
          </a:r>
          <a:r>
            <a:rPr lang="en-US" dirty="0"/>
            <a:t> </a:t>
          </a:r>
          <a:endParaRPr lang="nb-NO" dirty="0"/>
        </a:p>
      </dgm:t>
    </dgm:pt>
    <dgm:pt modelId="{252F16D1-36CF-48AB-AF5F-6A9688545D4C}" type="parTrans" cxnId="{3B0AB5F5-423E-4FEF-B9C0-7BDD3B59EB48}">
      <dgm:prSet/>
      <dgm:spPr/>
      <dgm:t>
        <a:bodyPr/>
        <a:lstStyle/>
        <a:p>
          <a:endParaRPr lang="en-SE"/>
        </a:p>
      </dgm:t>
    </dgm:pt>
    <dgm:pt modelId="{192BA810-A6AE-4BE4-827C-488C3F3965AB}" type="sibTrans" cxnId="{3B0AB5F5-423E-4FEF-B9C0-7BDD3B59EB48}">
      <dgm:prSet/>
      <dgm:spPr/>
      <dgm:t>
        <a:bodyPr/>
        <a:lstStyle/>
        <a:p>
          <a:endParaRPr lang="en-SE"/>
        </a:p>
      </dgm:t>
    </dgm:pt>
    <dgm:pt modelId="{3716B45A-ED74-4CB9-BE13-F883F23605AC}">
      <dgm:prSet/>
      <dgm:spPr/>
      <dgm:t>
        <a:bodyPr/>
        <a:lstStyle/>
        <a:p>
          <a:r>
            <a:rPr lang="en-US" dirty="0"/>
            <a:t>Use the Add-</a:t>
          </a:r>
          <a:r>
            <a:rPr lang="en-US" dirty="0" err="1"/>
            <a:t>SPOTenantCdnOrigin</a:t>
          </a:r>
          <a:r>
            <a:rPr lang="en-US" dirty="0"/>
            <a:t> cmdlet to define a site collection as a private origin within the Microsoft 365 CDN</a:t>
          </a:r>
          <a:endParaRPr lang="nb-NO" dirty="0"/>
        </a:p>
      </dgm:t>
    </dgm:pt>
    <dgm:pt modelId="{77F2C32B-E7A7-4E35-BDCF-DA5B082D4991}" type="parTrans" cxnId="{8508F277-F2BD-40D3-B4A6-AF287DAE0561}">
      <dgm:prSet/>
      <dgm:spPr/>
      <dgm:t>
        <a:bodyPr/>
        <a:lstStyle/>
        <a:p>
          <a:endParaRPr lang="en-SE"/>
        </a:p>
      </dgm:t>
    </dgm:pt>
    <dgm:pt modelId="{E120BF73-F480-40DC-B2E6-2D8AE64822DF}" type="sibTrans" cxnId="{8508F277-F2BD-40D3-B4A6-AF287DAE0561}">
      <dgm:prSet/>
      <dgm:spPr/>
      <dgm:t>
        <a:bodyPr/>
        <a:lstStyle/>
        <a:p>
          <a:endParaRPr lang="en-SE"/>
        </a:p>
      </dgm:t>
    </dgm:pt>
    <dgm:pt modelId="{4A089EB8-CDF7-459F-94A9-C29EF492664F}">
      <dgm:prSet/>
      <dgm:spPr/>
      <dgm:t>
        <a:bodyPr/>
        <a:lstStyle/>
        <a:p>
          <a:r>
            <a:rPr lang="en-US" dirty="0"/>
            <a:t>Add-</a:t>
          </a:r>
          <a:r>
            <a:rPr lang="en-US" dirty="0" err="1"/>
            <a:t>SPOTenantCdnOrigin</a:t>
          </a:r>
          <a:r>
            <a:rPr lang="en-US" dirty="0"/>
            <a:t> -</a:t>
          </a:r>
          <a:r>
            <a:rPr lang="en-US" dirty="0" err="1"/>
            <a:t>CdnType</a:t>
          </a:r>
          <a:r>
            <a:rPr lang="en-US" dirty="0"/>
            <a:t> Private -</a:t>
          </a:r>
          <a:r>
            <a:rPr lang="en-US" dirty="0" err="1"/>
            <a:t>OriginUrl</a:t>
          </a:r>
          <a:r>
            <a:rPr lang="en-US" dirty="0"/>
            <a:t> sites/site1/</a:t>
          </a:r>
          <a:r>
            <a:rPr lang="en-US" dirty="0" err="1"/>
            <a:t>siteassets</a:t>
          </a:r>
          <a:endParaRPr lang="nb-NO" dirty="0"/>
        </a:p>
      </dgm:t>
    </dgm:pt>
    <dgm:pt modelId="{378CFFB6-7B99-4179-A1BF-2DE5ABE7E091}" type="parTrans" cxnId="{C057FDD6-B897-4CF8-8E3A-80C1F0F84976}">
      <dgm:prSet/>
      <dgm:spPr/>
      <dgm:t>
        <a:bodyPr/>
        <a:lstStyle/>
        <a:p>
          <a:endParaRPr lang="en-SE"/>
        </a:p>
      </dgm:t>
    </dgm:pt>
    <dgm:pt modelId="{928A37A0-0DD1-4907-912D-2E2240A689E9}" type="sibTrans" cxnId="{C057FDD6-B897-4CF8-8E3A-80C1F0F84976}">
      <dgm:prSet/>
      <dgm:spPr/>
      <dgm:t>
        <a:bodyPr/>
        <a:lstStyle/>
        <a:p>
          <a:endParaRPr lang="en-SE"/>
        </a:p>
      </dgm:t>
    </dgm:pt>
    <dgm:pt modelId="{736AD6CB-6688-48CF-8BE2-DFD6BB1BEB84}">
      <dgm:prSet/>
      <dgm:spPr/>
      <dgm:t>
        <a:bodyPr/>
        <a:lstStyle/>
        <a:p>
          <a:r>
            <a:rPr lang="en-US" dirty="0"/>
            <a:t>Set-</a:t>
          </a:r>
          <a:r>
            <a:rPr lang="en-US" dirty="0" err="1"/>
            <a:t>SPOTenantCdnEnabled</a:t>
          </a:r>
          <a:endParaRPr lang="nb-NO" dirty="0"/>
        </a:p>
      </dgm:t>
    </dgm:pt>
    <dgm:pt modelId="{85E3C81A-6ECB-40E9-9397-97583A712E5D}" type="sibTrans" cxnId="{A0602AFB-9134-4E10-AC0D-E96A6ED1F549}">
      <dgm:prSet/>
      <dgm:spPr/>
      <dgm:t>
        <a:bodyPr/>
        <a:lstStyle/>
        <a:p>
          <a:endParaRPr lang="en-SE"/>
        </a:p>
      </dgm:t>
    </dgm:pt>
    <dgm:pt modelId="{D234E57D-385C-45B1-8282-677E55FA6EFD}" type="parTrans" cxnId="{A0602AFB-9134-4E10-AC0D-E96A6ED1F549}">
      <dgm:prSet/>
      <dgm:spPr/>
      <dgm:t>
        <a:bodyPr/>
        <a:lstStyle/>
        <a:p>
          <a:endParaRPr lang="en-SE"/>
        </a:p>
      </dgm:t>
    </dgm:pt>
    <dgm:pt modelId="{638335CE-24EC-48AD-AFA5-F88378074739}">
      <dgm:prSet/>
      <dgm:spPr/>
      <dgm:t>
        <a:bodyPr/>
        <a:lstStyle/>
        <a:p>
          <a:r>
            <a:rPr lang="en-US" dirty="0"/>
            <a:t>Enables or disables Public content delivery network (CDN) or Private CDN on the tenant level.</a:t>
          </a:r>
          <a:br>
            <a:rPr lang="en-US" dirty="0"/>
          </a:br>
          <a:r>
            <a:rPr lang="en-US" dirty="0"/>
            <a:t>Set-</a:t>
          </a:r>
          <a:r>
            <a:rPr lang="en-US" dirty="0" err="1"/>
            <a:t>SPOTenantCdnEnabled</a:t>
          </a:r>
          <a:r>
            <a:rPr lang="en-US" dirty="0"/>
            <a:t> -</a:t>
          </a:r>
          <a:r>
            <a:rPr lang="en-US" dirty="0" err="1"/>
            <a:t>CdnType</a:t>
          </a:r>
          <a:r>
            <a:rPr lang="en-US" dirty="0"/>
            <a:t> &lt;Public | Private | Both&gt; -Enable $true</a:t>
          </a:r>
          <a:endParaRPr lang="nb-NO" dirty="0"/>
        </a:p>
      </dgm:t>
    </dgm:pt>
    <dgm:pt modelId="{DBA4A06B-9F8E-4481-BD4E-88F07E512513}" type="sibTrans" cxnId="{40E70636-A92A-418C-99A4-D176EE006CEB}">
      <dgm:prSet/>
      <dgm:spPr/>
      <dgm:t>
        <a:bodyPr/>
        <a:lstStyle/>
        <a:p>
          <a:endParaRPr lang="en-SE"/>
        </a:p>
      </dgm:t>
    </dgm:pt>
    <dgm:pt modelId="{8E875BDF-E306-4B16-859B-A38D0D2A5125}" type="parTrans" cxnId="{40E70636-A92A-418C-99A4-D176EE006CEB}">
      <dgm:prSet/>
      <dgm:spPr/>
      <dgm:t>
        <a:bodyPr/>
        <a:lstStyle/>
        <a:p>
          <a:endParaRPr lang="en-SE"/>
        </a:p>
      </dgm:t>
    </dgm:pt>
    <dgm:pt modelId="{7FC84213-CC3A-4164-BD6D-DBDCD4BD238D}">
      <dgm:prSet/>
      <dgm:spPr/>
      <dgm:t>
        <a:bodyPr/>
        <a:lstStyle/>
        <a:p>
          <a:r>
            <a:rPr lang="en-US" dirty="0"/>
            <a:t>Set-SPOTenant -</a:t>
          </a:r>
          <a:r>
            <a:rPr lang="en-US" dirty="0" err="1"/>
            <a:t>LegacyAuthProtocolsEnabled</a:t>
          </a:r>
          <a:endParaRPr lang="nb-NO" dirty="0"/>
        </a:p>
      </dgm:t>
    </dgm:pt>
    <dgm:pt modelId="{4A8E0625-F689-4240-99E3-D1AE2AC736D2}" type="parTrans" cxnId="{374802AE-5A3C-4E90-9770-9650442A9CCE}">
      <dgm:prSet/>
      <dgm:spPr/>
      <dgm:t>
        <a:bodyPr/>
        <a:lstStyle/>
        <a:p>
          <a:endParaRPr lang="en-SE"/>
        </a:p>
      </dgm:t>
    </dgm:pt>
    <dgm:pt modelId="{39297A97-ED0E-4B47-B28C-B70142458FF8}" type="sibTrans" cxnId="{374802AE-5A3C-4E90-9770-9650442A9CCE}">
      <dgm:prSet/>
      <dgm:spPr/>
      <dgm:t>
        <a:bodyPr/>
        <a:lstStyle/>
        <a:p>
          <a:endParaRPr lang="en-SE"/>
        </a:p>
      </dgm:t>
    </dgm:pt>
    <dgm:pt modelId="{01C29516-6224-410A-8B74-1931303B23F2}">
      <dgm:prSet/>
      <dgm:spPr/>
      <dgm:t>
        <a:bodyPr/>
        <a:lstStyle/>
        <a:p>
          <a:r>
            <a:rPr lang="en-US" dirty="0"/>
            <a:t>By default this value is set to $True. </a:t>
          </a:r>
          <a:endParaRPr lang="nb-NO" dirty="0"/>
        </a:p>
      </dgm:t>
    </dgm:pt>
    <dgm:pt modelId="{55FE7162-0DC6-43CF-83C4-038B674078FC}" type="parTrans" cxnId="{0BFE85B0-9E70-4D41-9D9C-4DB20056CEEE}">
      <dgm:prSet/>
      <dgm:spPr/>
      <dgm:t>
        <a:bodyPr/>
        <a:lstStyle/>
        <a:p>
          <a:endParaRPr lang="en-SE"/>
        </a:p>
      </dgm:t>
    </dgm:pt>
    <dgm:pt modelId="{6D1A4199-3F6D-44EE-93F5-E4EDD5762061}" type="sibTrans" cxnId="{0BFE85B0-9E70-4D41-9D9C-4DB20056CEEE}">
      <dgm:prSet/>
      <dgm:spPr/>
      <dgm:t>
        <a:bodyPr/>
        <a:lstStyle/>
        <a:p>
          <a:endParaRPr lang="en-SE"/>
        </a:p>
      </dgm:t>
    </dgm:pt>
    <dgm:pt modelId="{98B56168-FBF5-4A51-BE71-600409E0D336}">
      <dgm:prSet/>
      <dgm:spPr/>
      <dgm:t>
        <a:bodyPr/>
        <a:lstStyle/>
        <a:p>
          <a:r>
            <a:rPr lang="en-US" dirty="0"/>
            <a:t>A value of $False-Prevents Office clients using non-modern authentication protocols from accessing SharePoint Online resources.</a:t>
          </a:r>
        </a:p>
      </dgm:t>
    </dgm:pt>
    <dgm:pt modelId="{D8977050-D3BD-4F3C-BBAA-1D6CB4D4B6A9}" type="parTrans" cxnId="{ACA4D360-FE5F-44C8-ADA5-4F388C25D296}">
      <dgm:prSet/>
      <dgm:spPr/>
      <dgm:t>
        <a:bodyPr/>
        <a:lstStyle/>
        <a:p>
          <a:endParaRPr lang="en-SE"/>
        </a:p>
      </dgm:t>
    </dgm:pt>
    <dgm:pt modelId="{4CC31AA6-7B09-403D-B611-AC5C67B8E654}" type="sibTrans" cxnId="{ACA4D360-FE5F-44C8-ADA5-4F388C25D296}">
      <dgm:prSet/>
      <dgm:spPr/>
      <dgm:t>
        <a:bodyPr/>
        <a:lstStyle/>
        <a:p>
          <a:endParaRPr lang="en-SE"/>
        </a:p>
      </dgm:t>
    </dgm:pt>
    <dgm:pt modelId="{E7428EE9-F6B2-4B41-83AC-39D0A004D99A}">
      <dgm:prSet/>
      <dgm:spPr/>
      <dgm:t>
        <a:bodyPr/>
        <a:lstStyle/>
        <a:p>
          <a:r>
            <a:rPr lang="en-US" dirty="0"/>
            <a:t>This may also prevent third-party apps from accessing SharePoint Online resources</a:t>
          </a:r>
        </a:p>
      </dgm:t>
    </dgm:pt>
    <dgm:pt modelId="{9CDC9766-F462-4849-A142-67A6723D04CF}" type="parTrans" cxnId="{CD57D74A-5738-4872-8700-63C36C2CE882}">
      <dgm:prSet/>
      <dgm:spPr/>
      <dgm:t>
        <a:bodyPr/>
        <a:lstStyle/>
        <a:p>
          <a:endParaRPr lang="en-SE"/>
        </a:p>
      </dgm:t>
    </dgm:pt>
    <dgm:pt modelId="{E82722AE-434B-415C-BBC7-08439945DBC0}" type="sibTrans" cxnId="{CD57D74A-5738-4872-8700-63C36C2CE882}">
      <dgm:prSet/>
      <dgm:spPr/>
      <dgm:t>
        <a:bodyPr/>
        <a:lstStyle/>
        <a:p>
          <a:endParaRPr lang="en-SE"/>
        </a:p>
      </dgm:t>
    </dgm:pt>
    <dgm:pt modelId="{413B1DA1-8AD8-4008-B441-59AE71A7C85F}">
      <dgm:prSet/>
      <dgm:spPr/>
      <dgm:t>
        <a:bodyPr/>
        <a:lstStyle/>
        <a:p>
          <a:r>
            <a:rPr lang="en-US" dirty="0"/>
            <a:t>This will also block apps using the </a:t>
          </a:r>
          <a:r>
            <a:rPr lang="en-US" dirty="0" err="1"/>
            <a:t>SharePointOnlineCredentials</a:t>
          </a:r>
          <a:r>
            <a:rPr lang="en-US" dirty="0"/>
            <a:t> class to access SharePoint Online resources.</a:t>
          </a:r>
        </a:p>
      </dgm:t>
    </dgm:pt>
    <dgm:pt modelId="{D5CADF72-5F4A-42FC-A1EE-241BFDEEFAFA}" type="parTrans" cxnId="{30323257-DEE2-46AE-A7FE-BC3264EFC388}">
      <dgm:prSet/>
      <dgm:spPr/>
      <dgm:t>
        <a:bodyPr/>
        <a:lstStyle/>
        <a:p>
          <a:endParaRPr lang="en-SE"/>
        </a:p>
      </dgm:t>
    </dgm:pt>
    <dgm:pt modelId="{C25FD065-F332-4696-B771-A667F8980DB7}" type="sibTrans" cxnId="{30323257-DEE2-46AE-A7FE-BC3264EFC388}">
      <dgm:prSet/>
      <dgm:spPr/>
      <dgm:t>
        <a:bodyPr/>
        <a:lstStyle/>
        <a:p>
          <a:endParaRPr lang="en-SE"/>
        </a:p>
      </dgm:t>
    </dgm:pt>
    <dgm:pt modelId="{12961607-09C0-4D8F-88AA-7E16F97659C3}" type="pres">
      <dgm:prSet presAssocID="{6D9201D6-B0B4-424F-9EBF-D3577B1AD91A}" presName="linear" presStyleCnt="0">
        <dgm:presLayoutVars>
          <dgm:animLvl val="lvl"/>
          <dgm:resizeHandles val="exact"/>
        </dgm:presLayoutVars>
      </dgm:prSet>
      <dgm:spPr/>
    </dgm:pt>
    <dgm:pt modelId="{DAE81CFF-3030-45A0-9E95-CE0D0D0FBA9C}" type="pres">
      <dgm:prSet presAssocID="{7FC84213-CC3A-4164-BD6D-DBDCD4BD238D}" presName="parentText" presStyleLbl="node1" presStyleIdx="0" presStyleCnt="3">
        <dgm:presLayoutVars>
          <dgm:chMax val="0"/>
          <dgm:bulletEnabled val="1"/>
        </dgm:presLayoutVars>
      </dgm:prSet>
      <dgm:spPr/>
    </dgm:pt>
    <dgm:pt modelId="{0E3F0EFE-5D69-4483-8CD7-002A2BE13538}" type="pres">
      <dgm:prSet presAssocID="{7FC84213-CC3A-4164-BD6D-DBDCD4BD238D}" presName="childText" presStyleLbl="revTx" presStyleIdx="0" presStyleCnt="3">
        <dgm:presLayoutVars>
          <dgm:bulletEnabled val="1"/>
        </dgm:presLayoutVars>
      </dgm:prSet>
      <dgm:spPr/>
    </dgm:pt>
    <dgm:pt modelId="{45EF7D58-F259-4C47-9232-32F56EF1FF14}" type="pres">
      <dgm:prSet presAssocID="{736AD6CB-6688-48CF-8BE2-DFD6BB1BEB84}" presName="parentText" presStyleLbl="node1" presStyleIdx="1" presStyleCnt="3">
        <dgm:presLayoutVars>
          <dgm:chMax val="0"/>
          <dgm:bulletEnabled val="1"/>
        </dgm:presLayoutVars>
      </dgm:prSet>
      <dgm:spPr/>
    </dgm:pt>
    <dgm:pt modelId="{D86D7E24-33F0-4696-90CB-7E9DC55AFC6D}" type="pres">
      <dgm:prSet presAssocID="{736AD6CB-6688-48CF-8BE2-DFD6BB1BEB84}" presName="childText" presStyleLbl="revTx" presStyleIdx="1" presStyleCnt="3">
        <dgm:presLayoutVars>
          <dgm:bulletEnabled val="1"/>
        </dgm:presLayoutVars>
      </dgm:prSet>
      <dgm:spPr/>
    </dgm:pt>
    <dgm:pt modelId="{A2ADA242-4888-4672-B1C4-0E030D8A8208}" type="pres">
      <dgm:prSet presAssocID="{F1CD8A8C-1C3F-4D67-BB8B-2C8081360F7E}" presName="parentText" presStyleLbl="node1" presStyleIdx="2" presStyleCnt="3">
        <dgm:presLayoutVars>
          <dgm:chMax val="0"/>
          <dgm:bulletEnabled val="1"/>
        </dgm:presLayoutVars>
      </dgm:prSet>
      <dgm:spPr/>
    </dgm:pt>
    <dgm:pt modelId="{F2911BE1-229C-4C96-AE03-78250CF9BD27}" type="pres">
      <dgm:prSet presAssocID="{F1CD8A8C-1C3F-4D67-BB8B-2C8081360F7E}" presName="childText" presStyleLbl="revTx" presStyleIdx="2" presStyleCnt="3">
        <dgm:presLayoutVars>
          <dgm:bulletEnabled val="1"/>
        </dgm:presLayoutVars>
      </dgm:prSet>
      <dgm:spPr/>
    </dgm:pt>
  </dgm:ptLst>
  <dgm:cxnLst>
    <dgm:cxn modelId="{26333619-4B77-440A-A091-B3E3E4BE226A}" type="presOf" srcId="{736AD6CB-6688-48CF-8BE2-DFD6BB1BEB84}" destId="{45EF7D58-F259-4C47-9232-32F56EF1FF14}" srcOrd="0" destOrd="0" presId="urn:microsoft.com/office/officeart/2005/8/layout/vList2"/>
    <dgm:cxn modelId="{527A8627-71D0-4C47-A2EF-29B36A0CD06B}" type="presOf" srcId="{638335CE-24EC-48AD-AFA5-F88378074739}" destId="{D86D7E24-33F0-4696-90CB-7E9DC55AFC6D}" srcOrd="0" destOrd="0" presId="urn:microsoft.com/office/officeart/2005/8/layout/vList2"/>
    <dgm:cxn modelId="{40E70636-A92A-418C-99A4-D176EE006CEB}" srcId="{736AD6CB-6688-48CF-8BE2-DFD6BB1BEB84}" destId="{638335CE-24EC-48AD-AFA5-F88378074739}" srcOrd="0" destOrd="0" parTransId="{8E875BDF-E306-4B16-859B-A38D0D2A5125}" sibTransId="{DBA4A06B-9F8E-4481-BD4E-88F07E512513}"/>
    <dgm:cxn modelId="{ACA4D360-FE5F-44C8-ADA5-4F388C25D296}" srcId="{7FC84213-CC3A-4164-BD6D-DBDCD4BD238D}" destId="{98B56168-FBF5-4A51-BE71-600409E0D336}" srcOrd="1" destOrd="0" parTransId="{D8977050-D3BD-4F3C-BBAA-1D6CB4D4B6A9}" sibTransId="{4CC31AA6-7B09-403D-B611-AC5C67B8E654}"/>
    <dgm:cxn modelId="{591E1541-ADF0-4578-A547-BC39F873B5EB}" type="presOf" srcId="{E7428EE9-F6B2-4B41-83AC-39D0A004D99A}" destId="{0E3F0EFE-5D69-4483-8CD7-002A2BE13538}" srcOrd="0" destOrd="2" presId="urn:microsoft.com/office/officeart/2005/8/layout/vList2"/>
    <dgm:cxn modelId="{CD57D74A-5738-4872-8700-63C36C2CE882}" srcId="{7FC84213-CC3A-4164-BD6D-DBDCD4BD238D}" destId="{E7428EE9-F6B2-4B41-83AC-39D0A004D99A}" srcOrd="2" destOrd="0" parTransId="{9CDC9766-F462-4849-A142-67A6723D04CF}" sibTransId="{E82722AE-434B-415C-BBC7-08439945DBC0}"/>
    <dgm:cxn modelId="{06D17C4C-A58B-4FDA-B9B6-F96765B9FCAA}" type="presOf" srcId="{7FC84213-CC3A-4164-BD6D-DBDCD4BD238D}" destId="{DAE81CFF-3030-45A0-9E95-CE0D0D0FBA9C}" srcOrd="0" destOrd="0" presId="urn:microsoft.com/office/officeart/2005/8/layout/vList2"/>
    <dgm:cxn modelId="{A3C6E86E-E009-496C-A926-D240A8D86EC9}" type="presOf" srcId="{413B1DA1-8AD8-4008-B441-59AE71A7C85F}" destId="{0E3F0EFE-5D69-4483-8CD7-002A2BE13538}" srcOrd="0" destOrd="3" presId="urn:microsoft.com/office/officeart/2005/8/layout/vList2"/>
    <dgm:cxn modelId="{0569E753-94D7-4BEF-8BFC-ADA9542964BC}" type="presOf" srcId="{6D9201D6-B0B4-424F-9EBF-D3577B1AD91A}" destId="{12961607-09C0-4D8F-88AA-7E16F97659C3}" srcOrd="0" destOrd="0" presId="urn:microsoft.com/office/officeart/2005/8/layout/vList2"/>
    <dgm:cxn modelId="{EED9DA55-8DC9-4F6D-A40F-9B657F0D3DB9}" type="presOf" srcId="{4A089EB8-CDF7-459F-94A9-C29EF492664F}" destId="{F2911BE1-229C-4C96-AE03-78250CF9BD27}" srcOrd="0" destOrd="1" presId="urn:microsoft.com/office/officeart/2005/8/layout/vList2"/>
    <dgm:cxn modelId="{30323257-DEE2-46AE-A7FE-BC3264EFC388}" srcId="{7FC84213-CC3A-4164-BD6D-DBDCD4BD238D}" destId="{413B1DA1-8AD8-4008-B441-59AE71A7C85F}" srcOrd="3" destOrd="0" parTransId="{D5CADF72-5F4A-42FC-A1EE-241BFDEEFAFA}" sibTransId="{C25FD065-F332-4696-B771-A667F8980DB7}"/>
    <dgm:cxn modelId="{8508F277-F2BD-40D3-B4A6-AF287DAE0561}" srcId="{F1CD8A8C-1C3F-4D67-BB8B-2C8081360F7E}" destId="{3716B45A-ED74-4CB9-BE13-F883F23605AC}" srcOrd="0" destOrd="0" parTransId="{77F2C32B-E7A7-4E35-BDCF-DA5B082D4991}" sibTransId="{E120BF73-F480-40DC-B2E6-2D8AE64822DF}"/>
    <dgm:cxn modelId="{86AB5698-9B57-4F97-A442-1FBF2A843CBE}" type="presOf" srcId="{3716B45A-ED74-4CB9-BE13-F883F23605AC}" destId="{F2911BE1-229C-4C96-AE03-78250CF9BD27}" srcOrd="0" destOrd="0" presId="urn:microsoft.com/office/officeart/2005/8/layout/vList2"/>
    <dgm:cxn modelId="{D79CDFA0-3977-45A7-A1F0-6356F4FBC2C6}" type="presOf" srcId="{F1CD8A8C-1C3F-4D67-BB8B-2C8081360F7E}" destId="{A2ADA242-4888-4672-B1C4-0E030D8A8208}" srcOrd="0" destOrd="0" presId="urn:microsoft.com/office/officeart/2005/8/layout/vList2"/>
    <dgm:cxn modelId="{374802AE-5A3C-4E90-9770-9650442A9CCE}" srcId="{6D9201D6-B0B4-424F-9EBF-D3577B1AD91A}" destId="{7FC84213-CC3A-4164-BD6D-DBDCD4BD238D}" srcOrd="0" destOrd="0" parTransId="{4A8E0625-F689-4240-99E3-D1AE2AC736D2}" sibTransId="{39297A97-ED0E-4B47-B28C-B70142458FF8}"/>
    <dgm:cxn modelId="{0BFE85B0-9E70-4D41-9D9C-4DB20056CEEE}" srcId="{7FC84213-CC3A-4164-BD6D-DBDCD4BD238D}" destId="{01C29516-6224-410A-8B74-1931303B23F2}" srcOrd="0" destOrd="0" parTransId="{55FE7162-0DC6-43CF-83C4-038B674078FC}" sibTransId="{6D1A4199-3F6D-44EE-93F5-E4EDD5762061}"/>
    <dgm:cxn modelId="{4F379AC1-6235-4386-A584-B03114DF72AF}" type="presOf" srcId="{98B56168-FBF5-4A51-BE71-600409E0D336}" destId="{0E3F0EFE-5D69-4483-8CD7-002A2BE13538}" srcOrd="0" destOrd="1" presId="urn:microsoft.com/office/officeart/2005/8/layout/vList2"/>
    <dgm:cxn modelId="{C057FDD6-B897-4CF8-8E3A-80C1F0F84976}" srcId="{F1CD8A8C-1C3F-4D67-BB8B-2C8081360F7E}" destId="{4A089EB8-CDF7-459F-94A9-C29EF492664F}" srcOrd="1" destOrd="0" parTransId="{378CFFB6-7B99-4179-A1BF-2DE5ABE7E091}" sibTransId="{928A37A0-0DD1-4907-912D-2E2240A689E9}"/>
    <dgm:cxn modelId="{3B0AB5F5-423E-4FEF-B9C0-7BDD3B59EB48}" srcId="{6D9201D6-B0B4-424F-9EBF-D3577B1AD91A}" destId="{F1CD8A8C-1C3F-4D67-BB8B-2C8081360F7E}" srcOrd="2" destOrd="0" parTransId="{252F16D1-36CF-48AB-AF5F-6A9688545D4C}" sibTransId="{192BA810-A6AE-4BE4-827C-488C3F3965AB}"/>
    <dgm:cxn modelId="{31735CF8-6610-4FA4-A6A3-2CE27712EBBC}" type="presOf" srcId="{01C29516-6224-410A-8B74-1931303B23F2}" destId="{0E3F0EFE-5D69-4483-8CD7-002A2BE13538}" srcOrd="0" destOrd="0" presId="urn:microsoft.com/office/officeart/2005/8/layout/vList2"/>
    <dgm:cxn modelId="{A0602AFB-9134-4E10-AC0D-E96A6ED1F549}" srcId="{6D9201D6-B0B4-424F-9EBF-D3577B1AD91A}" destId="{736AD6CB-6688-48CF-8BE2-DFD6BB1BEB84}" srcOrd="1" destOrd="0" parTransId="{D234E57D-385C-45B1-8282-677E55FA6EFD}" sibTransId="{85E3C81A-6ECB-40E9-9397-97583A712E5D}"/>
    <dgm:cxn modelId="{684F3460-CEC7-4BD2-A4EF-8A8CC7A01DB0}" type="presParOf" srcId="{12961607-09C0-4D8F-88AA-7E16F97659C3}" destId="{DAE81CFF-3030-45A0-9E95-CE0D0D0FBA9C}" srcOrd="0" destOrd="0" presId="urn:microsoft.com/office/officeart/2005/8/layout/vList2"/>
    <dgm:cxn modelId="{2B97220A-AC4F-49A9-9F3A-3B9642EED6E8}" type="presParOf" srcId="{12961607-09C0-4D8F-88AA-7E16F97659C3}" destId="{0E3F0EFE-5D69-4483-8CD7-002A2BE13538}" srcOrd="1" destOrd="0" presId="urn:microsoft.com/office/officeart/2005/8/layout/vList2"/>
    <dgm:cxn modelId="{3737806A-1F50-48FC-9634-C7E74FFEC57F}" type="presParOf" srcId="{12961607-09C0-4D8F-88AA-7E16F97659C3}" destId="{45EF7D58-F259-4C47-9232-32F56EF1FF14}" srcOrd="2" destOrd="0" presId="urn:microsoft.com/office/officeart/2005/8/layout/vList2"/>
    <dgm:cxn modelId="{E46AF124-C4D5-462B-B3B4-1988E8B2760F}" type="presParOf" srcId="{12961607-09C0-4D8F-88AA-7E16F97659C3}" destId="{D86D7E24-33F0-4696-90CB-7E9DC55AFC6D}" srcOrd="3" destOrd="0" presId="urn:microsoft.com/office/officeart/2005/8/layout/vList2"/>
    <dgm:cxn modelId="{1812442B-9CFE-453B-8C04-601CEA7B00D8}" type="presParOf" srcId="{12961607-09C0-4D8F-88AA-7E16F97659C3}" destId="{A2ADA242-4888-4672-B1C4-0E030D8A8208}" srcOrd="4" destOrd="0" presId="urn:microsoft.com/office/officeart/2005/8/layout/vList2"/>
    <dgm:cxn modelId="{F1037191-2F69-4520-A448-9AA67E7DBFDA}" type="presParOf" srcId="{12961607-09C0-4D8F-88AA-7E16F97659C3}" destId="{F2911BE1-229C-4C96-AE03-78250CF9BD27}"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D12119F-A18E-4E87-A61D-EB85D7B99CC9}"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9BB1A449-4533-49B6-9461-1E3DAACF7FC7}">
      <dgm:prSet/>
      <dgm:spPr/>
      <dgm:t>
        <a:bodyPr/>
        <a:lstStyle/>
        <a:p>
          <a:r>
            <a:rPr lang="en-US" dirty="0"/>
            <a:t>Get-</a:t>
          </a:r>
          <a:r>
            <a:rPr lang="en-US" dirty="0" err="1"/>
            <a:t>SPOTenantSyncClientRestriction</a:t>
          </a:r>
          <a:endParaRPr lang="nb-NO" dirty="0"/>
        </a:p>
      </dgm:t>
    </dgm:pt>
    <dgm:pt modelId="{55AB4FB9-15DC-47E3-86D7-13CFFC684AF3}" type="parTrans" cxnId="{4F1F7BE9-F0A8-4B58-A013-3F1347D19C92}">
      <dgm:prSet/>
      <dgm:spPr/>
      <dgm:t>
        <a:bodyPr/>
        <a:lstStyle/>
        <a:p>
          <a:endParaRPr lang="en-SE"/>
        </a:p>
      </dgm:t>
    </dgm:pt>
    <dgm:pt modelId="{88CE15B0-364F-4C02-A926-4470C36AF2D9}" type="sibTrans" cxnId="{4F1F7BE9-F0A8-4B58-A013-3F1347D19C92}">
      <dgm:prSet/>
      <dgm:spPr/>
      <dgm:t>
        <a:bodyPr/>
        <a:lstStyle/>
        <a:p>
          <a:endParaRPr lang="en-SE"/>
        </a:p>
      </dgm:t>
    </dgm:pt>
    <dgm:pt modelId="{7706097E-D1C0-4635-9607-C8EED7C883E3}">
      <dgm:prSet/>
      <dgm:spPr/>
      <dgm:t>
        <a:bodyPr/>
        <a:lstStyle/>
        <a:p>
          <a:r>
            <a:rPr lang="en-US" dirty="0"/>
            <a:t>Returns whether the property is True or False</a:t>
          </a:r>
          <a:endParaRPr lang="nb-NO" dirty="0"/>
        </a:p>
      </dgm:t>
    </dgm:pt>
    <dgm:pt modelId="{2650524A-D3A1-4921-AFE6-2233CCC66400}" type="parTrans" cxnId="{A2149059-A702-4311-8CA5-7A472B83D6BE}">
      <dgm:prSet/>
      <dgm:spPr/>
      <dgm:t>
        <a:bodyPr/>
        <a:lstStyle/>
        <a:p>
          <a:endParaRPr lang="en-US"/>
        </a:p>
      </dgm:t>
    </dgm:pt>
    <dgm:pt modelId="{C8FFFE3F-74F2-46AF-A96B-FAB72864F1E6}" type="sibTrans" cxnId="{A2149059-A702-4311-8CA5-7A472B83D6BE}">
      <dgm:prSet/>
      <dgm:spPr/>
      <dgm:t>
        <a:bodyPr/>
        <a:lstStyle/>
        <a:p>
          <a:endParaRPr lang="en-US"/>
        </a:p>
      </dgm:t>
    </dgm:pt>
    <dgm:pt modelId="{38F44E7F-1437-4ABF-96C6-1B58CC689FE9}">
      <dgm:prSet/>
      <dgm:spPr/>
      <dgm:t>
        <a:bodyPr/>
        <a:lstStyle/>
        <a:p>
          <a:r>
            <a:rPr lang="en-US" dirty="0"/>
            <a:t>Remove-</a:t>
          </a:r>
          <a:r>
            <a:rPr lang="en-US" dirty="0" err="1"/>
            <a:t>SPOTenantSyncClientRestriction</a:t>
          </a:r>
          <a:endParaRPr lang="nb-NO" dirty="0"/>
        </a:p>
      </dgm:t>
    </dgm:pt>
    <dgm:pt modelId="{79BDB51E-0560-4B9F-A0CF-D3C5FD87412A}" type="parTrans" cxnId="{5989ABAC-AB1A-4DDB-8EF5-8F77EDC198C7}">
      <dgm:prSet/>
      <dgm:spPr/>
      <dgm:t>
        <a:bodyPr/>
        <a:lstStyle/>
        <a:p>
          <a:endParaRPr lang="en-US"/>
        </a:p>
      </dgm:t>
    </dgm:pt>
    <dgm:pt modelId="{04B975DE-1CAC-46E1-ADFB-893C5FA17F0E}" type="sibTrans" cxnId="{5989ABAC-AB1A-4DDB-8EF5-8F77EDC198C7}">
      <dgm:prSet/>
      <dgm:spPr/>
      <dgm:t>
        <a:bodyPr/>
        <a:lstStyle/>
        <a:p>
          <a:endParaRPr lang="en-US"/>
        </a:p>
      </dgm:t>
    </dgm:pt>
    <dgm:pt modelId="{4B0F5F74-6588-453B-B378-2C931D04FE1C}">
      <dgm:prSet/>
      <dgm:spPr/>
      <dgm:t>
        <a:bodyPr/>
        <a:lstStyle/>
        <a:p>
          <a:r>
            <a:rPr lang="en-US" dirty="0"/>
            <a:t>Disables existing sync client restrictions that are in place at the tenant level</a:t>
          </a:r>
          <a:endParaRPr lang="nb-NO" dirty="0"/>
        </a:p>
      </dgm:t>
    </dgm:pt>
    <dgm:pt modelId="{29DD34FE-CD55-4D27-9D5B-E7D9C60628FE}" type="parTrans" cxnId="{0BDB22C6-45B8-4043-89BE-16258ACDFFCD}">
      <dgm:prSet/>
      <dgm:spPr/>
      <dgm:t>
        <a:bodyPr/>
        <a:lstStyle/>
        <a:p>
          <a:endParaRPr lang="en-US"/>
        </a:p>
      </dgm:t>
    </dgm:pt>
    <dgm:pt modelId="{C91DDC7D-CFCA-41F0-9953-2ACED56903D3}" type="sibTrans" cxnId="{0BDB22C6-45B8-4043-89BE-16258ACDFFCD}">
      <dgm:prSet/>
      <dgm:spPr/>
      <dgm:t>
        <a:bodyPr/>
        <a:lstStyle/>
        <a:p>
          <a:endParaRPr lang="en-US"/>
        </a:p>
      </dgm:t>
    </dgm:pt>
    <dgm:pt modelId="{C0E152B0-253D-4D76-8BAE-C84B3B4EA3D7}">
      <dgm:prSet/>
      <dgm:spPr/>
      <dgm:t>
        <a:bodyPr/>
        <a:lstStyle/>
        <a:p>
          <a:r>
            <a:rPr lang="en-US" dirty="0"/>
            <a:t>Note: May take up to 24 hours for change to take effect</a:t>
          </a:r>
          <a:endParaRPr lang="nb-NO" dirty="0"/>
        </a:p>
      </dgm:t>
    </dgm:pt>
    <dgm:pt modelId="{7B7A7B27-95F5-4FB2-B620-D04E019FE111}" type="parTrans" cxnId="{3E0A3D86-38CE-44A3-AC05-1E9FE996A6C2}">
      <dgm:prSet/>
      <dgm:spPr/>
      <dgm:t>
        <a:bodyPr/>
        <a:lstStyle/>
        <a:p>
          <a:endParaRPr lang="en-US"/>
        </a:p>
      </dgm:t>
    </dgm:pt>
    <dgm:pt modelId="{5F49B896-A176-4758-8607-FD18B8A4E725}" type="sibTrans" cxnId="{3E0A3D86-38CE-44A3-AC05-1E9FE996A6C2}">
      <dgm:prSet/>
      <dgm:spPr/>
      <dgm:t>
        <a:bodyPr/>
        <a:lstStyle/>
        <a:p>
          <a:endParaRPr lang="en-US"/>
        </a:p>
      </dgm:t>
    </dgm:pt>
    <dgm:pt modelId="{839869AC-0155-48E6-A002-2E6BD0E0EBA8}">
      <dgm:prSet/>
      <dgm:spPr/>
      <dgm:t>
        <a:bodyPr/>
        <a:lstStyle/>
        <a:p>
          <a:r>
            <a:rPr lang="en-US" dirty="0"/>
            <a:t>Set-</a:t>
          </a:r>
          <a:r>
            <a:rPr lang="en-US" dirty="0" err="1"/>
            <a:t>SPOTenantSyncClientRestriction</a:t>
          </a:r>
          <a:endParaRPr lang="nb-NO" dirty="0"/>
        </a:p>
      </dgm:t>
    </dgm:pt>
    <dgm:pt modelId="{D34FE20F-1C11-488A-A523-370A1008E4A9}" type="parTrans" cxnId="{506617F0-0E6A-494C-8173-7A763C5C937F}">
      <dgm:prSet/>
      <dgm:spPr/>
      <dgm:t>
        <a:bodyPr/>
        <a:lstStyle/>
        <a:p>
          <a:endParaRPr lang="en-US"/>
        </a:p>
      </dgm:t>
    </dgm:pt>
    <dgm:pt modelId="{0C672A6E-98F1-4FED-9280-926A4173B89F}" type="sibTrans" cxnId="{506617F0-0E6A-494C-8173-7A763C5C937F}">
      <dgm:prSet/>
      <dgm:spPr/>
      <dgm:t>
        <a:bodyPr/>
        <a:lstStyle/>
        <a:p>
          <a:endParaRPr lang="en-US"/>
        </a:p>
      </dgm:t>
    </dgm:pt>
    <dgm:pt modelId="{9ABFBAD2-AB96-4D43-8808-7F4257F372F0}">
      <dgm:prSet/>
      <dgm:spPr/>
      <dgm:t>
        <a:bodyPr/>
        <a:lstStyle/>
        <a:p>
          <a:r>
            <a:rPr lang="en-US" dirty="0"/>
            <a:t>Set-</a:t>
          </a:r>
          <a:r>
            <a:rPr lang="en-US" dirty="0" err="1"/>
            <a:t>SPOTenantSyncClientRestriction</a:t>
          </a:r>
          <a:r>
            <a:rPr lang="en-US" dirty="0"/>
            <a:t> -Enable -</a:t>
          </a:r>
          <a:r>
            <a:rPr lang="en-US" dirty="0" err="1"/>
            <a:t>DomainGuids</a:t>
          </a:r>
          <a:r>
            <a:rPr lang="en-US" dirty="0"/>
            <a:t> "786548DD-877B-4760-A749-6B1EFBC1190A; 877564FF-877B-4760-A749- 6B1EFBC1190A”</a:t>
          </a:r>
          <a:endParaRPr lang="nb-NO" dirty="0"/>
        </a:p>
      </dgm:t>
    </dgm:pt>
    <dgm:pt modelId="{04257D3E-8777-45E5-947C-ABADED4C92EB}" type="parTrans" cxnId="{3BF7D5C1-2F13-45BB-93AF-7D9E750FD8A2}">
      <dgm:prSet/>
      <dgm:spPr/>
      <dgm:t>
        <a:bodyPr/>
        <a:lstStyle/>
        <a:p>
          <a:endParaRPr lang="en-US"/>
        </a:p>
      </dgm:t>
    </dgm:pt>
    <dgm:pt modelId="{FF3CFC7E-37AE-48A7-A1B6-091C264196C9}" type="sibTrans" cxnId="{3BF7D5C1-2F13-45BB-93AF-7D9E750FD8A2}">
      <dgm:prSet/>
      <dgm:spPr/>
      <dgm:t>
        <a:bodyPr/>
        <a:lstStyle/>
        <a:p>
          <a:endParaRPr lang="en-US"/>
        </a:p>
      </dgm:t>
    </dgm:pt>
    <dgm:pt modelId="{7E72582B-7DB8-49B1-B160-A3AE51D8CB64}">
      <dgm:prSet/>
      <dgm:spPr/>
      <dgm:t>
        <a:bodyPr/>
        <a:lstStyle/>
        <a:p>
          <a:r>
            <a:rPr lang="en-US"/>
            <a:t>Note</a:t>
          </a:r>
          <a:r>
            <a:rPr lang="en-US" dirty="0"/>
            <a:t>: Allows you to set domain GUIDs for the safe recipients list in the OneDrive for Business sync operation</a:t>
          </a:r>
          <a:endParaRPr lang="nb-NO" dirty="0"/>
        </a:p>
      </dgm:t>
    </dgm:pt>
    <dgm:pt modelId="{02807309-EB21-4F63-A11F-4747A0BAAF8D}" type="parTrans" cxnId="{D2BAF1B6-110D-4F60-AC23-C4375F373313}">
      <dgm:prSet/>
      <dgm:spPr/>
      <dgm:t>
        <a:bodyPr/>
        <a:lstStyle/>
        <a:p>
          <a:endParaRPr lang="en-US"/>
        </a:p>
      </dgm:t>
    </dgm:pt>
    <dgm:pt modelId="{0D747826-9B30-45A8-BE57-91C02057FB89}" type="sibTrans" cxnId="{D2BAF1B6-110D-4F60-AC23-C4375F373313}">
      <dgm:prSet/>
      <dgm:spPr/>
      <dgm:t>
        <a:bodyPr/>
        <a:lstStyle/>
        <a:p>
          <a:endParaRPr lang="en-US"/>
        </a:p>
      </dgm:t>
    </dgm:pt>
    <dgm:pt modelId="{3E34C330-44C7-4D25-85A0-0E1081DC09AF}" type="pres">
      <dgm:prSet presAssocID="{7D12119F-A18E-4E87-A61D-EB85D7B99CC9}" presName="linear" presStyleCnt="0">
        <dgm:presLayoutVars>
          <dgm:animLvl val="lvl"/>
          <dgm:resizeHandles val="exact"/>
        </dgm:presLayoutVars>
      </dgm:prSet>
      <dgm:spPr/>
    </dgm:pt>
    <dgm:pt modelId="{10411843-9BC4-4EFB-A20D-58AFD5AC24D9}" type="pres">
      <dgm:prSet presAssocID="{9BB1A449-4533-49B6-9461-1E3DAACF7FC7}" presName="parentText" presStyleLbl="node1" presStyleIdx="0" presStyleCnt="3">
        <dgm:presLayoutVars>
          <dgm:chMax val="0"/>
          <dgm:bulletEnabled val="1"/>
        </dgm:presLayoutVars>
      </dgm:prSet>
      <dgm:spPr/>
    </dgm:pt>
    <dgm:pt modelId="{E6287671-3664-48BA-B26A-B18DDDD7786C}" type="pres">
      <dgm:prSet presAssocID="{9BB1A449-4533-49B6-9461-1E3DAACF7FC7}" presName="childText" presStyleLbl="revTx" presStyleIdx="0" presStyleCnt="3">
        <dgm:presLayoutVars>
          <dgm:bulletEnabled val="1"/>
        </dgm:presLayoutVars>
      </dgm:prSet>
      <dgm:spPr/>
    </dgm:pt>
    <dgm:pt modelId="{3BB53DBE-167A-4AAC-BB00-254B90B1AB61}" type="pres">
      <dgm:prSet presAssocID="{38F44E7F-1437-4ABF-96C6-1B58CC689FE9}" presName="parentText" presStyleLbl="node1" presStyleIdx="1" presStyleCnt="3">
        <dgm:presLayoutVars>
          <dgm:chMax val="0"/>
          <dgm:bulletEnabled val="1"/>
        </dgm:presLayoutVars>
      </dgm:prSet>
      <dgm:spPr/>
    </dgm:pt>
    <dgm:pt modelId="{9A691183-0856-4417-94F3-D488C9A27C49}" type="pres">
      <dgm:prSet presAssocID="{38F44E7F-1437-4ABF-96C6-1B58CC689FE9}" presName="childText" presStyleLbl="revTx" presStyleIdx="1" presStyleCnt="3">
        <dgm:presLayoutVars>
          <dgm:bulletEnabled val="1"/>
        </dgm:presLayoutVars>
      </dgm:prSet>
      <dgm:spPr/>
    </dgm:pt>
    <dgm:pt modelId="{A7D9BA0F-49B6-46C4-ACCF-255967A23023}" type="pres">
      <dgm:prSet presAssocID="{839869AC-0155-48E6-A002-2E6BD0E0EBA8}" presName="parentText" presStyleLbl="node1" presStyleIdx="2" presStyleCnt="3">
        <dgm:presLayoutVars>
          <dgm:chMax val="0"/>
          <dgm:bulletEnabled val="1"/>
        </dgm:presLayoutVars>
      </dgm:prSet>
      <dgm:spPr/>
    </dgm:pt>
    <dgm:pt modelId="{12AA0DE4-76AD-438E-9945-C4C1D612422C}" type="pres">
      <dgm:prSet presAssocID="{839869AC-0155-48E6-A002-2E6BD0E0EBA8}" presName="childText" presStyleLbl="revTx" presStyleIdx="2" presStyleCnt="3">
        <dgm:presLayoutVars>
          <dgm:bulletEnabled val="1"/>
        </dgm:presLayoutVars>
      </dgm:prSet>
      <dgm:spPr/>
    </dgm:pt>
  </dgm:ptLst>
  <dgm:cxnLst>
    <dgm:cxn modelId="{C3A73705-03E9-496B-B09D-13842E24DFC9}" type="presOf" srcId="{7D12119F-A18E-4E87-A61D-EB85D7B99CC9}" destId="{3E34C330-44C7-4D25-85A0-0E1081DC09AF}" srcOrd="0" destOrd="0" presId="urn:microsoft.com/office/officeart/2005/8/layout/vList2"/>
    <dgm:cxn modelId="{10038B47-28CC-40F6-B577-08E33760E056}" type="presOf" srcId="{9ABFBAD2-AB96-4D43-8808-7F4257F372F0}" destId="{12AA0DE4-76AD-438E-9945-C4C1D612422C}" srcOrd="0" destOrd="0" presId="urn:microsoft.com/office/officeart/2005/8/layout/vList2"/>
    <dgm:cxn modelId="{AD8A5F4C-DCAD-46AB-AC3C-5CEDD7728BC3}" type="presOf" srcId="{9BB1A449-4533-49B6-9461-1E3DAACF7FC7}" destId="{10411843-9BC4-4EFB-A20D-58AFD5AC24D9}" srcOrd="0" destOrd="0" presId="urn:microsoft.com/office/officeart/2005/8/layout/vList2"/>
    <dgm:cxn modelId="{0312DE51-C328-4A9C-81B3-5F4929A7EDB3}" type="presOf" srcId="{4B0F5F74-6588-453B-B378-2C931D04FE1C}" destId="{9A691183-0856-4417-94F3-D488C9A27C49}" srcOrd="0" destOrd="0" presId="urn:microsoft.com/office/officeart/2005/8/layout/vList2"/>
    <dgm:cxn modelId="{A2149059-A702-4311-8CA5-7A472B83D6BE}" srcId="{9BB1A449-4533-49B6-9461-1E3DAACF7FC7}" destId="{7706097E-D1C0-4635-9607-C8EED7C883E3}" srcOrd="0" destOrd="0" parTransId="{2650524A-D3A1-4921-AFE6-2233CCC66400}" sibTransId="{C8FFFE3F-74F2-46AF-A96B-FAB72864F1E6}"/>
    <dgm:cxn modelId="{3E0A3D86-38CE-44A3-AC05-1E9FE996A6C2}" srcId="{38F44E7F-1437-4ABF-96C6-1B58CC689FE9}" destId="{C0E152B0-253D-4D76-8BAE-C84B3B4EA3D7}" srcOrd="1" destOrd="0" parTransId="{7B7A7B27-95F5-4FB2-B620-D04E019FE111}" sibTransId="{5F49B896-A176-4758-8607-FD18B8A4E725}"/>
    <dgm:cxn modelId="{13E3589E-1B1A-41EB-A8FB-6C73BE383D81}" type="presOf" srcId="{38F44E7F-1437-4ABF-96C6-1B58CC689FE9}" destId="{3BB53DBE-167A-4AAC-BB00-254B90B1AB61}" srcOrd="0" destOrd="0" presId="urn:microsoft.com/office/officeart/2005/8/layout/vList2"/>
    <dgm:cxn modelId="{5989ABAC-AB1A-4DDB-8EF5-8F77EDC198C7}" srcId="{7D12119F-A18E-4E87-A61D-EB85D7B99CC9}" destId="{38F44E7F-1437-4ABF-96C6-1B58CC689FE9}" srcOrd="1" destOrd="0" parTransId="{79BDB51E-0560-4B9F-A0CF-D3C5FD87412A}" sibTransId="{04B975DE-1CAC-46E1-ADFB-893C5FA17F0E}"/>
    <dgm:cxn modelId="{676667B0-1E80-4BF7-8C12-B331AFDC9B5D}" type="presOf" srcId="{C0E152B0-253D-4D76-8BAE-C84B3B4EA3D7}" destId="{9A691183-0856-4417-94F3-D488C9A27C49}" srcOrd="0" destOrd="1" presId="urn:microsoft.com/office/officeart/2005/8/layout/vList2"/>
    <dgm:cxn modelId="{D2BAF1B6-110D-4F60-AC23-C4375F373313}" srcId="{839869AC-0155-48E6-A002-2E6BD0E0EBA8}" destId="{7E72582B-7DB8-49B1-B160-A3AE51D8CB64}" srcOrd="1" destOrd="0" parTransId="{02807309-EB21-4F63-A11F-4747A0BAAF8D}" sibTransId="{0D747826-9B30-45A8-BE57-91C02057FB89}"/>
    <dgm:cxn modelId="{3AD6B8B8-491F-487A-9744-6CE2DD25694B}" type="presOf" srcId="{7E72582B-7DB8-49B1-B160-A3AE51D8CB64}" destId="{12AA0DE4-76AD-438E-9945-C4C1D612422C}" srcOrd="0" destOrd="1" presId="urn:microsoft.com/office/officeart/2005/8/layout/vList2"/>
    <dgm:cxn modelId="{3BF7D5C1-2F13-45BB-93AF-7D9E750FD8A2}" srcId="{839869AC-0155-48E6-A002-2E6BD0E0EBA8}" destId="{9ABFBAD2-AB96-4D43-8808-7F4257F372F0}" srcOrd="0" destOrd="0" parTransId="{04257D3E-8777-45E5-947C-ABADED4C92EB}" sibTransId="{FF3CFC7E-37AE-48A7-A1B6-091C264196C9}"/>
    <dgm:cxn modelId="{0BDB22C6-45B8-4043-89BE-16258ACDFFCD}" srcId="{38F44E7F-1437-4ABF-96C6-1B58CC689FE9}" destId="{4B0F5F74-6588-453B-B378-2C931D04FE1C}" srcOrd="0" destOrd="0" parTransId="{29DD34FE-CD55-4D27-9D5B-E7D9C60628FE}" sibTransId="{C91DDC7D-CFCA-41F0-9953-2ACED56903D3}"/>
    <dgm:cxn modelId="{634B11D6-125F-4FC3-AD13-89AF918AE408}" type="presOf" srcId="{839869AC-0155-48E6-A002-2E6BD0E0EBA8}" destId="{A7D9BA0F-49B6-46C4-ACCF-255967A23023}" srcOrd="0" destOrd="0" presId="urn:microsoft.com/office/officeart/2005/8/layout/vList2"/>
    <dgm:cxn modelId="{45A7D6D9-775B-4B11-B674-E47900F48F22}" type="presOf" srcId="{7706097E-D1C0-4635-9607-C8EED7C883E3}" destId="{E6287671-3664-48BA-B26A-B18DDDD7786C}" srcOrd="0" destOrd="0" presId="urn:microsoft.com/office/officeart/2005/8/layout/vList2"/>
    <dgm:cxn modelId="{4F1F7BE9-F0A8-4B58-A013-3F1347D19C92}" srcId="{7D12119F-A18E-4E87-A61D-EB85D7B99CC9}" destId="{9BB1A449-4533-49B6-9461-1E3DAACF7FC7}" srcOrd="0" destOrd="0" parTransId="{55AB4FB9-15DC-47E3-86D7-13CFFC684AF3}" sibTransId="{88CE15B0-364F-4C02-A926-4470C36AF2D9}"/>
    <dgm:cxn modelId="{506617F0-0E6A-494C-8173-7A763C5C937F}" srcId="{7D12119F-A18E-4E87-A61D-EB85D7B99CC9}" destId="{839869AC-0155-48E6-A002-2E6BD0E0EBA8}" srcOrd="2" destOrd="0" parTransId="{D34FE20F-1C11-488A-A523-370A1008E4A9}" sibTransId="{0C672A6E-98F1-4FED-9280-926A4173B89F}"/>
    <dgm:cxn modelId="{E9C6C7EB-B6C9-46A1-BBB8-11B78D5119F9}" type="presParOf" srcId="{3E34C330-44C7-4D25-85A0-0E1081DC09AF}" destId="{10411843-9BC4-4EFB-A20D-58AFD5AC24D9}" srcOrd="0" destOrd="0" presId="urn:microsoft.com/office/officeart/2005/8/layout/vList2"/>
    <dgm:cxn modelId="{D3509967-99FD-4891-A56A-1F8F7D1E0B1A}" type="presParOf" srcId="{3E34C330-44C7-4D25-85A0-0E1081DC09AF}" destId="{E6287671-3664-48BA-B26A-B18DDDD7786C}" srcOrd="1" destOrd="0" presId="urn:microsoft.com/office/officeart/2005/8/layout/vList2"/>
    <dgm:cxn modelId="{59A1ED10-B77C-4812-A711-23E9F01E579B}" type="presParOf" srcId="{3E34C330-44C7-4D25-85A0-0E1081DC09AF}" destId="{3BB53DBE-167A-4AAC-BB00-254B90B1AB61}" srcOrd="2" destOrd="0" presId="urn:microsoft.com/office/officeart/2005/8/layout/vList2"/>
    <dgm:cxn modelId="{F5718682-8913-4619-ACDC-17406C3DDD8F}" type="presParOf" srcId="{3E34C330-44C7-4D25-85A0-0E1081DC09AF}" destId="{9A691183-0856-4417-94F3-D488C9A27C49}" srcOrd="3" destOrd="0" presId="urn:microsoft.com/office/officeart/2005/8/layout/vList2"/>
    <dgm:cxn modelId="{48C8819C-EF94-48C6-B8D9-F2D1730ACB12}" type="presParOf" srcId="{3E34C330-44C7-4D25-85A0-0E1081DC09AF}" destId="{A7D9BA0F-49B6-46C4-ACCF-255967A23023}" srcOrd="4" destOrd="0" presId="urn:microsoft.com/office/officeart/2005/8/layout/vList2"/>
    <dgm:cxn modelId="{CB6A98AA-3837-43C7-A99D-E6DF3EA8FD53}" type="presParOf" srcId="{3E34C330-44C7-4D25-85A0-0E1081DC09AF}" destId="{12AA0DE4-76AD-438E-9945-C4C1D612422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A3A047A-BEDE-41B7-B4E3-805754EEE977}"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F0927A69-F171-4258-B003-75FE19E43727}">
      <dgm:prSet/>
      <dgm:spPr/>
      <dgm:t>
        <a:bodyPr/>
        <a:lstStyle/>
        <a:p>
          <a:r>
            <a:rPr lang="en-US" baseline="0"/>
            <a:t>Use Set-SPOTenant to configure External User Sharing settings at the SPO tenant level</a:t>
          </a:r>
          <a:endParaRPr lang="en-US"/>
        </a:p>
      </dgm:t>
    </dgm:pt>
    <dgm:pt modelId="{7F7B552D-9B6F-4471-975B-F7EDB8E0FFA4}" type="parTrans" cxnId="{AA85CAE1-57C9-4069-8330-BFA780BD7276}">
      <dgm:prSet/>
      <dgm:spPr/>
      <dgm:t>
        <a:bodyPr/>
        <a:lstStyle/>
        <a:p>
          <a:endParaRPr lang="en-US"/>
        </a:p>
      </dgm:t>
    </dgm:pt>
    <dgm:pt modelId="{0793AA07-37A7-4B5F-8D60-3A9248A5F4EC}" type="sibTrans" cxnId="{AA85CAE1-57C9-4069-8330-BFA780BD7276}">
      <dgm:prSet/>
      <dgm:spPr/>
      <dgm:t>
        <a:bodyPr/>
        <a:lstStyle/>
        <a:p>
          <a:endParaRPr lang="en-US"/>
        </a:p>
      </dgm:t>
    </dgm:pt>
    <dgm:pt modelId="{9CA2243B-BB59-465A-A9CE-239F67A0DD18}">
      <dgm:prSet/>
      <dgm:spPr/>
      <dgm:t>
        <a:bodyPr/>
        <a:lstStyle/>
        <a:p>
          <a:r>
            <a:rPr lang="en-US" baseline="0"/>
            <a:t>Set-SPOTenant –SharingCapability</a:t>
          </a:r>
          <a:endParaRPr lang="en-US"/>
        </a:p>
      </dgm:t>
    </dgm:pt>
    <dgm:pt modelId="{30885692-D8B6-4872-BDAF-3464D011D51D}" type="parTrans" cxnId="{5B080ED1-0769-4B73-AB42-ECF1DFE17244}">
      <dgm:prSet/>
      <dgm:spPr/>
      <dgm:t>
        <a:bodyPr/>
        <a:lstStyle/>
        <a:p>
          <a:endParaRPr lang="en-US"/>
        </a:p>
      </dgm:t>
    </dgm:pt>
    <dgm:pt modelId="{991C2DDA-F734-4303-B1C9-0FFE4EAC5C78}" type="sibTrans" cxnId="{5B080ED1-0769-4B73-AB42-ECF1DFE17244}">
      <dgm:prSet/>
      <dgm:spPr/>
      <dgm:t>
        <a:bodyPr/>
        <a:lstStyle/>
        <a:p>
          <a:endParaRPr lang="en-US"/>
        </a:p>
      </dgm:t>
    </dgm:pt>
    <dgm:pt modelId="{4C8F73B4-A122-4415-B51A-35312ED1575D}">
      <dgm:prSet/>
      <dgm:spPr/>
      <dgm:t>
        <a:bodyPr/>
        <a:lstStyle/>
        <a:p>
          <a:r>
            <a:rPr lang="en-US" baseline="0"/>
            <a:t>Disabled – External user sharing (share by email) and guest link sharing are both disabled</a:t>
          </a:r>
          <a:endParaRPr lang="en-US"/>
        </a:p>
      </dgm:t>
    </dgm:pt>
    <dgm:pt modelId="{71382095-B9F1-4E7B-9114-3CA448A8EF4C}" type="parTrans" cxnId="{CDFB4173-CAE5-4C19-8AE2-96097DD51924}">
      <dgm:prSet/>
      <dgm:spPr/>
      <dgm:t>
        <a:bodyPr/>
        <a:lstStyle/>
        <a:p>
          <a:endParaRPr lang="en-US"/>
        </a:p>
      </dgm:t>
    </dgm:pt>
    <dgm:pt modelId="{E34E95E0-D814-4067-AA8E-39E98BDCCF15}" type="sibTrans" cxnId="{CDFB4173-CAE5-4C19-8AE2-96097DD51924}">
      <dgm:prSet/>
      <dgm:spPr/>
      <dgm:t>
        <a:bodyPr/>
        <a:lstStyle/>
        <a:p>
          <a:endParaRPr lang="en-US"/>
        </a:p>
      </dgm:t>
    </dgm:pt>
    <dgm:pt modelId="{D45950D2-7539-4739-BA82-0AACBD720B0E}">
      <dgm:prSet/>
      <dgm:spPr/>
      <dgm:t>
        <a:bodyPr/>
        <a:lstStyle/>
        <a:p>
          <a:r>
            <a:rPr lang="en-US" baseline="0"/>
            <a:t>ExternalUserSharingOnly – External user sharing (share by email) is enabled, but guest link sharing is disabled</a:t>
          </a:r>
          <a:endParaRPr lang="en-US"/>
        </a:p>
      </dgm:t>
    </dgm:pt>
    <dgm:pt modelId="{E566E2DB-ED7C-47C7-B3B6-2DB4DB0CEFCA}" type="parTrans" cxnId="{0F41EC28-AA34-48D9-81B5-4965866C00CF}">
      <dgm:prSet/>
      <dgm:spPr/>
      <dgm:t>
        <a:bodyPr/>
        <a:lstStyle/>
        <a:p>
          <a:endParaRPr lang="en-US"/>
        </a:p>
      </dgm:t>
    </dgm:pt>
    <dgm:pt modelId="{8E27634A-F6BC-4B00-8CDE-A55B63BEC341}" type="sibTrans" cxnId="{0F41EC28-AA34-48D9-81B5-4965866C00CF}">
      <dgm:prSet/>
      <dgm:spPr/>
      <dgm:t>
        <a:bodyPr/>
        <a:lstStyle/>
        <a:p>
          <a:endParaRPr lang="en-US"/>
        </a:p>
      </dgm:t>
    </dgm:pt>
    <dgm:pt modelId="{43B36B96-523F-465C-B07F-576A057C8026}">
      <dgm:prSet/>
      <dgm:spPr/>
      <dgm:t>
        <a:bodyPr/>
        <a:lstStyle/>
        <a:p>
          <a:r>
            <a:rPr lang="en-US" baseline="0"/>
            <a:t>ExternalUserAndGuestSharing - External user sharing (share by email) and guest link sharing are both enabled</a:t>
          </a:r>
          <a:endParaRPr lang="en-US"/>
        </a:p>
      </dgm:t>
    </dgm:pt>
    <dgm:pt modelId="{69A4917E-060D-40BD-A0C5-4C6B5423B659}" type="parTrans" cxnId="{479B6820-E983-4B33-B8C8-190EA622AC1E}">
      <dgm:prSet/>
      <dgm:spPr/>
      <dgm:t>
        <a:bodyPr/>
        <a:lstStyle/>
        <a:p>
          <a:endParaRPr lang="en-US"/>
        </a:p>
      </dgm:t>
    </dgm:pt>
    <dgm:pt modelId="{C6078C3D-E991-4882-B836-38B3D14956E7}" type="sibTrans" cxnId="{479B6820-E983-4B33-B8C8-190EA622AC1E}">
      <dgm:prSet/>
      <dgm:spPr/>
      <dgm:t>
        <a:bodyPr/>
        <a:lstStyle/>
        <a:p>
          <a:endParaRPr lang="en-US"/>
        </a:p>
      </dgm:t>
    </dgm:pt>
    <dgm:pt modelId="{78334F6A-8E48-4B50-89E1-66EFB24C11E6}">
      <dgm:prSet/>
      <dgm:spPr/>
      <dgm:t>
        <a:bodyPr/>
        <a:lstStyle/>
        <a:p>
          <a:r>
            <a:rPr lang="en-US" baseline="0"/>
            <a:t>Set-SPOTenant –RequireAcceptingAccountMatchInvitedAccount</a:t>
          </a:r>
          <a:endParaRPr lang="en-US"/>
        </a:p>
      </dgm:t>
    </dgm:pt>
    <dgm:pt modelId="{2EDEBAD1-78D9-4CA7-8FEE-318E9BE1E56A}" type="parTrans" cxnId="{6822C269-912B-4FE2-A3E9-1456580F757D}">
      <dgm:prSet/>
      <dgm:spPr/>
      <dgm:t>
        <a:bodyPr/>
        <a:lstStyle/>
        <a:p>
          <a:endParaRPr lang="en-US"/>
        </a:p>
      </dgm:t>
    </dgm:pt>
    <dgm:pt modelId="{1684C3AD-2FC8-4C18-A761-6241C26B97C2}" type="sibTrans" cxnId="{6822C269-912B-4FE2-A3E9-1456580F757D}">
      <dgm:prSet/>
      <dgm:spPr/>
      <dgm:t>
        <a:bodyPr/>
        <a:lstStyle/>
        <a:p>
          <a:endParaRPr lang="en-US"/>
        </a:p>
      </dgm:t>
    </dgm:pt>
    <dgm:pt modelId="{D77FA306-87B4-425A-9B53-76250B5147AF}">
      <dgm:prSet/>
      <dgm:spPr/>
      <dgm:t>
        <a:bodyPr/>
        <a:lstStyle/>
        <a:p>
          <a:r>
            <a:rPr lang="en-US" baseline="0"/>
            <a:t>True or False </a:t>
          </a:r>
          <a:endParaRPr lang="en-US"/>
        </a:p>
      </dgm:t>
    </dgm:pt>
    <dgm:pt modelId="{CE4018C7-8875-4DE7-B90E-B16DB96D4DD9}" type="parTrans" cxnId="{A55F4CDF-6AB5-4388-B06F-F872532B1BEC}">
      <dgm:prSet/>
      <dgm:spPr/>
      <dgm:t>
        <a:bodyPr/>
        <a:lstStyle/>
        <a:p>
          <a:endParaRPr lang="en-US"/>
        </a:p>
      </dgm:t>
    </dgm:pt>
    <dgm:pt modelId="{2DB9077C-6761-43BE-B93E-086CB3AAA25A}" type="sibTrans" cxnId="{A55F4CDF-6AB5-4388-B06F-F872532B1BEC}">
      <dgm:prSet/>
      <dgm:spPr/>
      <dgm:t>
        <a:bodyPr/>
        <a:lstStyle/>
        <a:p>
          <a:endParaRPr lang="en-US"/>
        </a:p>
      </dgm:t>
    </dgm:pt>
    <dgm:pt modelId="{4D8632C1-042E-4AD6-9C41-C7F7E66C1129}">
      <dgm:prSet/>
      <dgm:spPr/>
      <dgm:t>
        <a:bodyPr/>
        <a:lstStyle/>
        <a:p>
          <a:r>
            <a:rPr lang="en-US" baseline="0"/>
            <a:t>Ensures that an external user can only accept an external sharing invitation with an account matching the invited email address</a:t>
          </a:r>
          <a:endParaRPr lang="en-US"/>
        </a:p>
      </dgm:t>
    </dgm:pt>
    <dgm:pt modelId="{BD944E59-6D75-4037-93A6-8E2801E8A238}" type="parTrans" cxnId="{15749846-344F-4AF8-8EA1-B33E314FFFC9}">
      <dgm:prSet/>
      <dgm:spPr/>
      <dgm:t>
        <a:bodyPr/>
        <a:lstStyle/>
        <a:p>
          <a:endParaRPr lang="en-US"/>
        </a:p>
      </dgm:t>
    </dgm:pt>
    <dgm:pt modelId="{3B7E458B-42B7-4ED0-99F1-8FEFE8A7AD16}" type="sibTrans" cxnId="{15749846-344F-4AF8-8EA1-B33E314FFFC9}">
      <dgm:prSet/>
      <dgm:spPr/>
      <dgm:t>
        <a:bodyPr/>
        <a:lstStyle/>
        <a:p>
          <a:endParaRPr lang="en-US"/>
        </a:p>
      </dgm:t>
    </dgm:pt>
    <dgm:pt modelId="{91806082-EBC6-4312-A4DF-A4D2092C27BF}">
      <dgm:prSet/>
      <dgm:spPr/>
      <dgm:t>
        <a:bodyPr/>
        <a:lstStyle/>
        <a:p>
          <a:r>
            <a:rPr lang="en-US" baseline="0"/>
            <a:t>Administrators who desire increased control over external collaborators should consider enabling this feature</a:t>
          </a:r>
          <a:endParaRPr lang="en-US"/>
        </a:p>
      </dgm:t>
    </dgm:pt>
    <dgm:pt modelId="{9C3B57DC-D574-449D-A007-3778906535BC}" type="parTrans" cxnId="{1EF79B64-9EEB-4C93-9399-EADB56E96EAA}">
      <dgm:prSet/>
      <dgm:spPr/>
      <dgm:t>
        <a:bodyPr/>
        <a:lstStyle/>
        <a:p>
          <a:endParaRPr lang="en-US"/>
        </a:p>
      </dgm:t>
    </dgm:pt>
    <dgm:pt modelId="{B0A961AA-07AC-4469-9E49-C5DF877A2E12}" type="sibTrans" cxnId="{1EF79B64-9EEB-4C93-9399-EADB56E96EAA}">
      <dgm:prSet/>
      <dgm:spPr/>
      <dgm:t>
        <a:bodyPr/>
        <a:lstStyle/>
        <a:p>
          <a:endParaRPr lang="en-US"/>
        </a:p>
      </dgm:t>
    </dgm:pt>
    <dgm:pt modelId="{AA8B022C-D52C-4C42-BA84-0F741E5B4976}" type="pres">
      <dgm:prSet presAssocID="{4A3A047A-BEDE-41B7-B4E3-805754EEE977}" presName="linear" presStyleCnt="0">
        <dgm:presLayoutVars>
          <dgm:animLvl val="lvl"/>
          <dgm:resizeHandles val="exact"/>
        </dgm:presLayoutVars>
      </dgm:prSet>
      <dgm:spPr/>
    </dgm:pt>
    <dgm:pt modelId="{21547574-81F3-413F-867B-8B0E5168CEEF}" type="pres">
      <dgm:prSet presAssocID="{F0927A69-F171-4258-B003-75FE19E43727}" presName="parentText" presStyleLbl="node1" presStyleIdx="0" presStyleCnt="3">
        <dgm:presLayoutVars>
          <dgm:chMax val="0"/>
          <dgm:bulletEnabled val="1"/>
        </dgm:presLayoutVars>
      </dgm:prSet>
      <dgm:spPr/>
    </dgm:pt>
    <dgm:pt modelId="{CF1B9A78-76CF-418B-96F7-17A683639BBA}" type="pres">
      <dgm:prSet presAssocID="{0793AA07-37A7-4B5F-8D60-3A9248A5F4EC}" presName="spacer" presStyleCnt="0"/>
      <dgm:spPr/>
    </dgm:pt>
    <dgm:pt modelId="{8C573CD3-275F-46F3-927D-F7C3DEA147E8}" type="pres">
      <dgm:prSet presAssocID="{9CA2243B-BB59-465A-A9CE-239F67A0DD18}" presName="parentText" presStyleLbl="node1" presStyleIdx="1" presStyleCnt="3">
        <dgm:presLayoutVars>
          <dgm:chMax val="0"/>
          <dgm:bulletEnabled val="1"/>
        </dgm:presLayoutVars>
      </dgm:prSet>
      <dgm:spPr/>
    </dgm:pt>
    <dgm:pt modelId="{B2441176-D090-4680-ACCF-256A2BA5549C}" type="pres">
      <dgm:prSet presAssocID="{9CA2243B-BB59-465A-A9CE-239F67A0DD18}" presName="childText" presStyleLbl="revTx" presStyleIdx="0" presStyleCnt="2">
        <dgm:presLayoutVars>
          <dgm:bulletEnabled val="1"/>
        </dgm:presLayoutVars>
      </dgm:prSet>
      <dgm:spPr/>
    </dgm:pt>
    <dgm:pt modelId="{A308C1A3-DD62-4D2C-8D7F-72A6AFD67539}" type="pres">
      <dgm:prSet presAssocID="{78334F6A-8E48-4B50-89E1-66EFB24C11E6}" presName="parentText" presStyleLbl="node1" presStyleIdx="2" presStyleCnt="3">
        <dgm:presLayoutVars>
          <dgm:chMax val="0"/>
          <dgm:bulletEnabled val="1"/>
        </dgm:presLayoutVars>
      </dgm:prSet>
      <dgm:spPr/>
    </dgm:pt>
    <dgm:pt modelId="{F6C87283-7D36-40D8-862A-9F283DA7C6DB}" type="pres">
      <dgm:prSet presAssocID="{78334F6A-8E48-4B50-89E1-66EFB24C11E6}" presName="childText" presStyleLbl="revTx" presStyleIdx="1" presStyleCnt="2">
        <dgm:presLayoutVars>
          <dgm:bulletEnabled val="1"/>
        </dgm:presLayoutVars>
      </dgm:prSet>
      <dgm:spPr/>
    </dgm:pt>
  </dgm:ptLst>
  <dgm:cxnLst>
    <dgm:cxn modelId="{479B6820-E983-4B33-B8C8-190EA622AC1E}" srcId="{9CA2243B-BB59-465A-A9CE-239F67A0DD18}" destId="{43B36B96-523F-465C-B07F-576A057C8026}" srcOrd="2" destOrd="0" parTransId="{69A4917E-060D-40BD-A0C5-4C6B5423B659}" sibTransId="{C6078C3D-E991-4882-B836-38B3D14956E7}"/>
    <dgm:cxn modelId="{0F41EC28-AA34-48D9-81B5-4965866C00CF}" srcId="{9CA2243B-BB59-465A-A9CE-239F67A0DD18}" destId="{D45950D2-7539-4739-BA82-0AACBD720B0E}" srcOrd="1" destOrd="0" parTransId="{E566E2DB-ED7C-47C7-B3B6-2DB4DB0CEFCA}" sibTransId="{8E27634A-F6BC-4B00-8CDE-A55B63BEC341}"/>
    <dgm:cxn modelId="{E206E039-64CD-480D-AAB5-FF9B00581C11}" type="presOf" srcId="{91806082-EBC6-4312-A4DF-A4D2092C27BF}" destId="{F6C87283-7D36-40D8-862A-9F283DA7C6DB}" srcOrd="0" destOrd="2" presId="urn:microsoft.com/office/officeart/2005/8/layout/vList2"/>
    <dgm:cxn modelId="{BD28513C-391B-4765-96CD-2B95A69C6D46}" type="presOf" srcId="{4C8F73B4-A122-4415-B51A-35312ED1575D}" destId="{B2441176-D090-4680-ACCF-256A2BA5549C}" srcOrd="0" destOrd="0" presId="urn:microsoft.com/office/officeart/2005/8/layout/vList2"/>
    <dgm:cxn modelId="{1EF79B64-9EEB-4C93-9399-EADB56E96EAA}" srcId="{78334F6A-8E48-4B50-89E1-66EFB24C11E6}" destId="{91806082-EBC6-4312-A4DF-A4D2092C27BF}" srcOrd="2" destOrd="0" parTransId="{9C3B57DC-D574-449D-A007-3778906535BC}" sibTransId="{B0A961AA-07AC-4469-9E49-C5DF877A2E12}"/>
    <dgm:cxn modelId="{15749846-344F-4AF8-8EA1-B33E314FFFC9}" srcId="{78334F6A-8E48-4B50-89E1-66EFB24C11E6}" destId="{4D8632C1-042E-4AD6-9C41-C7F7E66C1129}" srcOrd="1" destOrd="0" parTransId="{BD944E59-6D75-4037-93A6-8E2801E8A238}" sibTransId="{3B7E458B-42B7-4ED0-99F1-8FEFE8A7AD16}"/>
    <dgm:cxn modelId="{6822C269-912B-4FE2-A3E9-1456580F757D}" srcId="{4A3A047A-BEDE-41B7-B4E3-805754EEE977}" destId="{78334F6A-8E48-4B50-89E1-66EFB24C11E6}" srcOrd="2" destOrd="0" parTransId="{2EDEBAD1-78D9-4CA7-8FEE-318E9BE1E56A}" sibTransId="{1684C3AD-2FC8-4C18-A761-6241C26B97C2}"/>
    <dgm:cxn modelId="{08831B6C-E831-4CAB-B160-FFB5BC938D15}" type="presOf" srcId="{43B36B96-523F-465C-B07F-576A057C8026}" destId="{B2441176-D090-4680-ACCF-256A2BA5549C}" srcOrd="0" destOrd="2" presId="urn:microsoft.com/office/officeart/2005/8/layout/vList2"/>
    <dgm:cxn modelId="{CDFB4173-CAE5-4C19-8AE2-96097DD51924}" srcId="{9CA2243B-BB59-465A-A9CE-239F67A0DD18}" destId="{4C8F73B4-A122-4415-B51A-35312ED1575D}" srcOrd="0" destOrd="0" parTransId="{71382095-B9F1-4E7B-9114-3CA448A8EF4C}" sibTransId="{E34E95E0-D814-4067-AA8E-39E98BDCCF15}"/>
    <dgm:cxn modelId="{E0B31189-BF46-470A-AF74-55D27D0181D9}" type="presOf" srcId="{D45950D2-7539-4739-BA82-0AACBD720B0E}" destId="{B2441176-D090-4680-ACCF-256A2BA5549C}" srcOrd="0" destOrd="1" presId="urn:microsoft.com/office/officeart/2005/8/layout/vList2"/>
    <dgm:cxn modelId="{433DCAA5-2139-4CC4-8B3E-84B51ED90347}" type="presOf" srcId="{D77FA306-87B4-425A-9B53-76250B5147AF}" destId="{F6C87283-7D36-40D8-862A-9F283DA7C6DB}" srcOrd="0" destOrd="0" presId="urn:microsoft.com/office/officeart/2005/8/layout/vList2"/>
    <dgm:cxn modelId="{06BDD8A6-C980-4751-8AF5-65CD9C377098}" type="presOf" srcId="{78334F6A-8E48-4B50-89E1-66EFB24C11E6}" destId="{A308C1A3-DD62-4D2C-8D7F-72A6AFD67539}" srcOrd="0" destOrd="0" presId="urn:microsoft.com/office/officeart/2005/8/layout/vList2"/>
    <dgm:cxn modelId="{EDEFFBBB-D595-4BF9-8409-1E8CA4BEF983}" type="presOf" srcId="{4A3A047A-BEDE-41B7-B4E3-805754EEE977}" destId="{AA8B022C-D52C-4C42-BA84-0F741E5B4976}" srcOrd="0" destOrd="0" presId="urn:microsoft.com/office/officeart/2005/8/layout/vList2"/>
    <dgm:cxn modelId="{9887FDBB-7CE3-49A2-84D4-917DB36902A6}" type="presOf" srcId="{4D8632C1-042E-4AD6-9C41-C7F7E66C1129}" destId="{F6C87283-7D36-40D8-862A-9F283DA7C6DB}" srcOrd="0" destOrd="1" presId="urn:microsoft.com/office/officeart/2005/8/layout/vList2"/>
    <dgm:cxn modelId="{5B080ED1-0769-4B73-AB42-ECF1DFE17244}" srcId="{4A3A047A-BEDE-41B7-B4E3-805754EEE977}" destId="{9CA2243B-BB59-465A-A9CE-239F67A0DD18}" srcOrd="1" destOrd="0" parTransId="{30885692-D8B6-4872-BDAF-3464D011D51D}" sibTransId="{991C2DDA-F734-4303-B1C9-0FFE4EAC5C78}"/>
    <dgm:cxn modelId="{A55F4CDF-6AB5-4388-B06F-F872532B1BEC}" srcId="{78334F6A-8E48-4B50-89E1-66EFB24C11E6}" destId="{D77FA306-87B4-425A-9B53-76250B5147AF}" srcOrd="0" destOrd="0" parTransId="{CE4018C7-8875-4DE7-B90E-B16DB96D4DD9}" sibTransId="{2DB9077C-6761-43BE-B93E-086CB3AAA25A}"/>
    <dgm:cxn modelId="{AA85CAE1-57C9-4069-8330-BFA780BD7276}" srcId="{4A3A047A-BEDE-41B7-B4E3-805754EEE977}" destId="{F0927A69-F171-4258-B003-75FE19E43727}" srcOrd="0" destOrd="0" parTransId="{7F7B552D-9B6F-4471-975B-F7EDB8E0FFA4}" sibTransId="{0793AA07-37A7-4B5F-8D60-3A9248A5F4EC}"/>
    <dgm:cxn modelId="{332ADBEA-4BB6-4CBF-B088-73310D5C7364}" type="presOf" srcId="{9CA2243B-BB59-465A-A9CE-239F67A0DD18}" destId="{8C573CD3-275F-46F3-927D-F7C3DEA147E8}" srcOrd="0" destOrd="0" presId="urn:microsoft.com/office/officeart/2005/8/layout/vList2"/>
    <dgm:cxn modelId="{F712C0EF-7699-466C-8D3D-70B5FE66F878}" type="presOf" srcId="{F0927A69-F171-4258-B003-75FE19E43727}" destId="{21547574-81F3-413F-867B-8B0E5168CEEF}" srcOrd="0" destOrd="0" presId="urn:microsoft.com/office/officeart/2005/8/layout/vList2"/>
    <dgm:cxn modelId="{9CEB770B-7BAF-4549-9FB5-0369A80814AE}" type="presParOf" srcId="{AA8B022C-D52C-4C42-BA84-0F741E5B4976}" destId="{21547574-81F3-413F-867B-8B0E5168CEEF}" srcOrd="0" destOrd="0" presId="urn:microsoft.com/office/officeart/2005/8/layout/vList2"/>
    <dgm:cxn modelId="{12F67EDB-4E78-4EE9-AECD-3FFCDA4DF541}" type="presParOf" srcId="{AA8B022C-D52C-4C42-BA84-0F741E5B4976}" destId="{CF1B9A78-76CF-418B-96F7-17A683639BBA}" srcOrd="1" destOrd="0" presId="urn:microsoft.com/office/officeart/2005/8/layout/vList2"/>
    <dgm:cxn modelId="{3E7CE399-3618-49EC-9A7A-CC111067D237}" type="presParOf" srcId="{AA8B022C-D52C-4C42-BA84-0F741E5B4976}" destId="{8C573CD3-275F-46F3-927D-F7C3DEA147E8}" srcOrd="2" destOrd="0" presId="urn:microsoft.com/office/officeart/2005/8/layout/vList2"/>
    <dgm:cxn modelId="{40C1C76F-A026-4E1D-895C-D2B41EF3CF80}" type="presParOf" srcId="{AA8B022C-D52C-4C42-BA84-0F741E5B4976}" destId="{B2441176-D090-4680-ACCF-256A2BA5549C}" srcOrd="3" destOrd="0" presId="urn:microsoft.com/office/officeart/2005/8/layout/vList2"/>
    <dgm:cxn modelId="{E01C1C89-0C6F-4544-8191-B3212E0E90BE}" type="presParOf" srcId="{AA8B022C-D52C-4C42-BA84-0F741E5B4976}" destId="{A308C1A3-DD62-4D2C-8D7F-72A6AFD67539}" srcOrd="4" destOrd="0" presId="urn:microsoft.com/office/officeart/2005/8/layout/vList2"/>
    <dgm:cxn modelId="{F7A4DB07-D666-417C-8DC9-58C169833A59}" type="presParOf" srcId="{AA8B022C-D52C-4C42-BA84-0F741E5B4976}" destId="{F6C87283-7D36-40D8-862A-9F283DA7C6DB}"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6B14176-82B7-4E5C-9EE0-DDDC4141DE79}"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C05C417C-65F8-40DC-A608-95F46B32A59C}">
      <dgm:prSet/>
      <dgm:spPr/>
      <dgm:t>
        <a:bodyPr/>
        <a:lstStyle/>
        <a:p>
          <a:r>
            <a:rPr lang="en-US" dirty="0"/>
            <a:t>Use Set-</a:t>
          </a:r>
          <a:r>
            <a:rPr lang="en-US" dirty="0" err="1"/>
            <a:t>SPOSite</a:t>
          </a:r>
          <a:r>
            <a:rPr lang="en-US" dirty="0"/>
            <a:t> to configure External User Sharing settings on an SPO site</a:t>
          </a:r>
          <a:endParaRPr lang="nb-NO" dirty="0"/>
        </a:p>
      </dgm:t>
    </dgm:pt>
    <dgm:pt modelId="{B7A0F2F0-6879-4892-A4B3-AE9BEE0A0885}" type="parTrans" cxnId="{9CC1BA46-DF3E-4069-80A5-0FE8B349EA53}">
      <dgm:prSet/>
      <dgm:spPr/>
      <dgm:t>
        <a:bodyPr/>
        <a:lstStyle/>
        <a:p>
          <a:endParaRPr lang="en-US"/>
        </a:p>
      </dgm:t>
    </dgm:pt>
    <dgm:pt modelId="{A6316193-6204-428F-9ABD-749F104E114C}" type="sibTrans" cxnId="{9CC1BA46-DF3E-4069-80A5-0FE8B349EA53}">
      <dgm:prSet/>
      <dgm:spPr/>
      <dgm:t>
        <a:bodyPr/>
        <a:lstStyle/>
        <a:p>
          <a:endParaRPr lang="en-US"/>
        </a:p>
      </dgm:t>
    </dgm:pt>
    <dgm:pt modelId="{BA9F1D80-8E65-4D80-AEA0-A04E615C4C20}">
      <dgm:prSet/>
      <dgm:spPr/>
      <dgm:t>
        <a:bodyPr/>
        <a:lstStyle/>
        <a:p>
          <a:r>
            <a:rPr lang="en-US" dirty="0"/>
            <a:t>Set-</a:t>
          </a:r>
          <a:r>
            <a:rPr lang="en-US" dirty="0" err="1"/>
            <a:t>SPOsite</a:t>
          </a:r>
          <a:r>
            <a:rPr lang="en-US" dirty="0"/>
            <a:t> –Identity (site URL) -</a:t>
          </a:r>
          <a:r>
            <a:rPr lang="en-US" dirty="0" err="1"/>
            <a:t>SharingCapability</a:t>
          </a:r>
          <a:endParaRPr lang="nb-NO" dirty="0"/>
        </a:p>
      </dgm:t>
    </dgm:pt>
    <dgm:pt modelId="{43A23BB0-10E8-4AA8-A7E8-E69D7E0632AB}" type="parTrans" cxnId="{5A6E9150-D6BF-4205-BD3E-FF9715726F57}">
      <dgm:prSet/>
      <dgm:spPr/>
      <dgm:t>
        <a:bodyPr/>
        <a:lstStyle/>
        <a:p>
          <a:endParaRPr lang="en-US"/>
        </a:p>
      </dgm:t>
    </dgm:pt>
    <dgm:pt modelId="{B54AD7A0-F58A-4AFC-A48A-46A5F08F44F2}" type="sibTrans" cxnId="{5A6E9150-D6BF-4205-BD3E-FF9715726F57}">
      <dgm:prSet/>
      <dgm:spPr/>
      <dgm:t>
        <a:bodyPr/>
        <a:lstStyle/>
        <a:p>
          <a:endParaRPr lang="en-US"/>
        </a:p>
      </dgm:t>
    </dgm:pt>
    <dgm:pt modelId="{2D5A445E-9561-46F9-9F73-AF6F20905814}">
      <dgm:prSet/>
      <dgm:spPr/>
      <dgm:t>
        <a:bodyPr/>
        <a:lstStyle/>
        <a:p>
          <a:r>
            <a:rPr lang="en-US" dirty="0"/>
            <a:t>Disabled – External user sharing (share by email) and guest link sharing are both disabled</a:t>
          </a:r>
          <a:endParaRPr lang="nb-NO" dirty="0"/>
        </a:p>
      </dgm:t>
    </dgm:pt>
    <dgm:pt modelId="{3423EAE3-F3E1-44A6-836D-0FFAB09D68C7}" type="parTrans" cxnId="{74A0A404-A3A0-490A-9DB1-523DDA699DC8}">
      <dgm:prSet/>
      <dgm:spPr/>
      <dgm:t>
        <a:bodyPr/>
        <a:lstStyle/>
        <a:p>
          <a:endParaRPr lang="en-US"/>
        </a:p>
      </dgm:t>
    </dgm:pt>
    <dgm:pt modelId="{8100EC55-4832-45F0-ABCA-DB55BADE4EA7}" type="sibTrans" cxnId="{74A0A404-A3A0-490A-9DB1-523DDA699DC8}">
      <dgm:prSet/>
      <dgm:spPr/>
      <dgm:t>
        <a:bodyPr/>
        <a:lstStyle/>
        <a:p>
          <a:endParaRPr lang="en-US"/>
        </a:p>
      </dgm:t>
    </dgm:pt>
    <dgm:pt modelId="{4D9A10C4-3CF9-4ED5-84B3-42C49FE1730A}">
      <dgm:prSet/>
      <dgm:spPr/>
      <dgm:t>
        <a:bodyPr/>
        <a:lstStyle/>
        <a:p>
          <a:r>
            <a:rPr lang="en-US" dirty="0" err="1"/>
            <a:t>ExternalUserSharingOnly</a:t>
          </a:r>
          <a:r>
            <a:rPr lang="en-US" dirty="0"/>
            <a:t> – External user sharing (share by email) is enabled, but guest link sharing is disabled</a:t>
          </a:r>
          <a:endParaRPr lang="nb-NO" dirty="0"/>
        </a:p>
      </dgm:t>
    </dgm:pt>
    <dgm:pt modelId="{196114A9-B90D-44B4-A904-D292ED0B8681}" type="parTrans" cxnId="{D4379C87-E69C-4B9E-95D5-7D3CA235A382}">
      <dgm:prSet/>
      <dgm:spPr/>
      <dgm:t>
        <a:bodyPr/>
        <a:lstStyle/>
        <a:p>
          <a:endParaRPr lang="en-US"/>
        </a:p>
      </dgm:t>
    </dgm:pt>
    <dgm:pt modelId="{66D0B022-A514-43E5-AA76-7708BE3E8D1A}" type="sibTrans" cxnId="{D4379C87-E69C-4B9E-95D5-7D3CA235A382}">
      <dgm:prSet/>
      <dgm:spPr/>
      <dgm:t>
        <a:bodyPr/>
        <a:lstStyle/>
        <a:p>
          <a:endParaRPr lang="en-US"/>
        </a:p>
      </dgm:t>
    </dgm:pt>
    <dgm:pt modelId="{7CF101D8-E681-4878-91B4-17DC023DFAC2}">
      <dgm:prSet/>
      <dgm:spPr/>
      <dgm:t>
        <a:bodyPr/>
        <a:lstStyle/>
        <a:p>
          <a:r>
            <a:rPr lang="en-US" dirty="0" err="1"/>
            <a:t>ExternalUserAndGuestSharing</a:t>
          </a:r>
          <a:r>
            <a:rPr lang="en-US" dirty="0"/>
            <a:t> - External user sharing (share by email) and guest link sharing are both enabled</a:t>
          </a:r>
          <a:endParaRPr lang="nb-NO" dirty="0"/>
        </a:p>
      </dgm:t>
    </dgm:pt>
    <dgm:pt modelId="{883B397C-1D4F-493C-9569-10A5FEFDCAEC}" type="parTrans" cxnId="{6E0883A6-73F1-4E3B-86A5-99FF3838605C}">
      <dgm:prSet/>
      <dgm:spPr/>
      <dgm:t>
        <a:bodyPr/>
        <a:lstStyle/>
        <a:p>
          <a:endParaRPr lang="en-US"/>
        </a:p>
      </dgm:t>
    </dgm:pt>
    <dgm:pt modelId="{003B1C75-C6D9-4E28-9F65-4FFE736F72AE}" type="sibTrans" cxnId="{6E0883A6-73F1-4E3B-86A5-99FF3838605C}">
      <dgm:prSet/>
      <dgm:spPr/>
      <dgm:t>
        <a:bodyPr/>
        <a:lstStyle/>
        <a:p>
          <a:endParaRPr lang="en-US"/>
        </a:p>
      </dgm:t>
    </dgm:pt>
    <dgm:pt modelId="{007DBA5D-7228-49BE-921D-1312424EA07F}" type="pres">
      <dgm:prSet presAssocID="{E6B14176-82B7-4E5C-9EE0-DDDC4141DE79}" presName="linear" presStyleCnt="0">
        <dgm:presLayoutVars>
          <dgm:animLvl val="lvl"/>
          <dgm:resizeHandles val="exact"/>
        </dgm:presLayoutVars>
      </dgm:prSet>
      <dgm:spPr/>
    </dgm:pt>
    <dgm:pt modelId="{1DB73334-A60C-46C3-9827-200FBE18B182}" type="pres">
      <dgm:prSet presAssocID="{C05C417C-65F8-40DC-A608-95F46B32A59C}" presName="parentText" presStyleLbl="node1" presStyleIdx="0" presStyleCnt="2">
        <dgm:presLayoutVars>
          <dgm:chMax val="0"/>
          <dgm:bulletEnabled val="1"/>
        </dgm:presLayoutVars>
      </dgm:prSet>
      <dgm:spPr/>
    </dgm:pt>
    <dgm:pt modelId="{BA0CE6E9-9EDE-44E5-AED4-2FDADC6822AB}" type="pres">
      <dgm:prSet presAssocID="{A6316193-6204-428F-9ABD-749F104E114C}" presName="spacer" presStyleCnt="0"/>
      <dgm:spPr/>
    </dgm:pt>
    <dgm:pt modelId="{542471D6-9123-4515-9F2F-4207DDB53F9B}" type="pres">
      <dgm:prSet presAssocID="{BA9F1D80-8E65-4D80-AEA0-A04E615C4C20}" presName="parentText" presStyleLbl="node1" presStyleIdx="1" presStyleCnt="2">
        <dgm:presLayoutVars>
          <dgm:chMax val="0"/>
          <dgm:bulletEnabled val="1"/>
        </dgm:presLayoutVars>
      </dgm:prSet>
      <dgm:spPr/>
    </dgm:pt>
    <dgm:pt modelId="{B162625F-46C7-4A4B-9111-6216F8FE8C8A}" type="pres">
      <dgm:prSet presAssocID="{BA9F1D80-8E65-4D80-AEA0-A04E615C4C20}" presName="childText" presStyleLbl="revTx" presStyleIdx="0" presStyleCnt="1">
        <dgm:presLayoutVars>
          <dgm:bulletEnabled val="1"/>
        </dgm:presLayoutVars>
      </dgm:prSet>
      <dgm:spPr/>
    </dgm:pt>
  </dgm:ptLst>
  <dgm:cxnLst>
    <dgm:cxn modelId="{74A0A404-A3A0-490A-9DB1-523DDA699DC8}" srcId="{BA9F1D80-8E65-4D80-AEA0-A04E615C4C20}" destId="{2D5A445E-9561-46F9-9F73-AF6F20905814}" srcOrd="0" destOrd="0" parTransId="{3423EAE3-F3E1-44A6-836D-0FFAB09D68C7}" sibTransId="{8100EC55-4832-45F0-ABCA-DB55BADE4EA7}"/>
    <dgm:cxn modelId="{D6EBCD2D-CC9E-4BFF-8F16-1C7153E16909}" type="presOf" srcId="{4D9A10C4-3CF9-4ED5-84B3-42C49FE1730A}" destId="{B162625F-46C7-4A4B-9111-6216F8FE8C8A}" srcOrd="0" destOrd="1" presId="urn:microsoft.com/office/officeart/2005/8/layout/vList2"/>
    <dgm:cxn modelId="{9CC1BA46-DF3E-4069-80A5-0FE8B349EA53}" srcId="{E6B14176-82B7-4E5C-9EE0-DDDC4141DE79}" destId="{C05C417C-65F8-40DC-A608-95F46B32A59C}" srcOrd="0" destOrd="0" parTransId="{B7A0F2F0-6879-4892-A4B3-AE9BEE0A0885}" sibTransId="{A6316193-6204-428F-9ABD-749F104E114C}"/>
    <dgm:cxn modelId="{E86A686B-177B-42C2-A4DD-576A8F7A72F5}" type="presOf" srcId="{7CF101D8-E681-4878-91B4-17DC023DFAC2}" destId="{B162625F-46C7-4A4B-9111-6216F8FE8C8A}" srcOrd="0" destOrd="2" presId="urn:microsoft.com/office/officeart/2005/8/layout/vList2"/>
    <dgm:cxn modelId="{5A6E9150-D6BF-4205-BD3E-FF9715726F57}" srcId="{E6B14176-82B7-4E5C-9EE0-DDDC4141DE79}" destId="{BA9F1D80-8E65-4D80-AEA0-A04E615C4C20}" srcOrd="1" destOrd="0" parTransId="{43A23BB0-10E8-4AA8-A7E8-E69D7E0632AB}" sibTransId="{B54AD7A0-F58A-4AFC-A48A-46A5F08F44F2}"/>
    <dgm:cxn modelId="{D4379C87-E69C-4B9E-95D5-7D3CA235A382}" srcId="{BA9F1D80-8E65-4D80-AEA0-A04E615C4C20}" destId="{4D9A10C4-3CF9-4ED5-84B3-42C49FE1730A}" srcOrd="1" destOrd="0" parTransId="{196114A9-B90D-44B4-A904-D292ED0B8681}" sibTransId="{66D0B022-A514-43E5-AA76-7708BE3E8D1A}"/>
    <dgm:cxn modelId="{4083A088-3D75-4E74-93A2-18AADF4F71B2}" type="presOf" srcId="{C05C417C-65F8-40DC-A608-95F46B32A59C}" destId="{1DB73334-A60C-46C3-9827-200FBE18B182}" srcOrd="0" destOrd="0" presId="urn:microsoft.com/office/officeart/2005/8/layout/vList2"/>
    <dgm:cxn modelId="{D2E3728B-01FE-4C2E-B190-518E65344D92}" type="presOf" srcId="{BA9F1D80-8E65-4D80-AEA0-A04E615C4C20}" destId="{542471D6-9123-4515-9F2F-4207DDB53F9B}" srcOrd="0" destOrd="0" presId="urn:microsoft.com/office/officeart/2005/8/layout/vList2"/>
    <dgm:cxn modelId="{0BE0B490-B42E-4E14-9400-7D6133B8EB72}" type="presOf" srcId="{2D5A445E-9561-46F9-9F73-AF6F20905814}" destId="{B162625F-46C7-4A4B-9111-6216F8FE8C8A}" srcOrd="0" destOrd="0" presId="urn:microsoft.com/office/officeart/2005/8/layout/vList2"/>
    <dgm:cxn modelId="{6E0883A6-73F1-4E3B-86A5-99FF3838605C}" srcId="{BA9F1D80-8E65-4D80-AEA0-A04E615C4C20}" destId="{7CF101D8-E681-4878-91B4-17DC023DFAC2}" srcOrd="2" destOrd="0" parTransId="{883B397C-1D4F-493C-9569-10A5FEFDCAEC}" sibTransId="{003B1C75-C6D9-4E28-9F65-4FFE736F72AE}"/>
    <dgm:cxn modelId="{267760EA-78BB-40EE-9591-376C79F8757D}" type="presOf" srcId="{E6B14176-82B7-4E5C-9EE0-DDDC4141DE79}" destId="{007DBA5D-7228-49BE-921D-1312424EA07F}" srcOrd="0" destOrd="0" presId="urn:microsoft.com/office/officeart/2005/8/layout/vList2"/>
    <dgm:cxn modelId="{7A2A3297-EA35-4B5F-A952-810FE128A48F}" type="presParOf" srcId="{007DBA5D-7228-49BE-921D-1312424EA07F}" destId="{1DB73334-A60C-46C3-9827-200FBE18B182}" srcOrd="0" destOrd="0" presId="urn:microsoft.com/office/officeart/2005/8/layout/vList2"/>
    <dgm:cxn modelId="{D718939E-E602-4F5F-B06C-E3EF30B2A16D}" type="presParOf" srcId="{007DBA5D-7228-49BE-921D-1312424EA07F}" destId="{BA0CE6E9-9EDE-44E5-AED4-2FDADC6822AB}" srcOrd="1" destOrd="0" presId="urn:microsoft.com/office/officeart/2005/8/layout/vList2"/>
    <dgm:cxn modelId="{4501D75A-227E-47D7-9BCD-D533D6A5EC23}" type="presParOf" srcId="{007DBA5D-7228-49BE-921D-1312424EA07F}" destId="{542471D6-9123-4515-9F2F-4207DDB53F9B}" srcOrd="2" destOrd="0" presId="urn:microsoft.com/office/officeart/2005/8/layout/vList2"/>
    <dgm:cxn modelId="{1ECD2137-081B-4932-9639-9303F25A8E17}" type="presParOf" srcId="{007DBA5D-7228-49BE-921D-1312424EA07F}" destId="{B162625F-46C7-4A4B-9111-6216F8FE8C8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97005C5-38FF-43D7-8130-A3864574D010}"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9B699B3F-82FD-4BC0-A60E-E17F8F285EAF}">
      <dgm:prSet/>
      <dgm:spPr/>
      <dgm:t>
        <a:bodyPr/>
        <a:lstStyle/>
        <a:p>
          <a:r>
            <a:rPr lang="en-US" dirty="0"/>
            <a:t>Use Set-</a:t>
          </a:r>
          <a:r>
            <a:rPr lang="en-US" dirty="0" err="1"/>
            <a:t>SPOTenant</a:t>
          </a:r>
          <a:r>
            <a:rPr lang="en-US" dirty="0"/>
            <a:t> to configure External Sharing domain restriction at the SPO tenant level</a:t>
          </a:r>
          <a:endParaRPr lang="nb-NO" dirty="0"/>
        </a:p>
      </dgm:t>
    </dgm:pt>
    <dgm:pt modelId="{4D94ADB0-EE50-4FEB-93B6-5FEE9CDE4385}" type="parTrans" cxnId="{CC486652-AD3B-4C43-AB4F-31F1D82E3495}">
      <dgm:prSet/>
      <dgm:spPr/>
      <dgm:t>
        <a:bodyPr/>
        <a:lstStyle/>
        <a:p>
          <a:endParaRPr lang="en-US"/>
        </a:p>
      </dgm:t>
    </dgm:pt>
    <dgm:pt modelId="{62442630-202A-4B79-BC1C-EAAC79CDACBE}" type="sibTrans" cxnId="{CC486652-AD3B-4C43-AB4F-31F1D82E3495}">
      <dgm:prSet/>
      <dgm:spPr/>
      <dgm:t>
        <a:bodyPr/>
        <a:lstStyle/>
        <a:p>
          <a:endParaRPr lang="en-US"/>
        </a:p>
      </dgm:t>
    </dgm:pt>
    <dgm:pt modelId="{86151943-B6B2-47F9-97F6-16A3FAC6970F}">
      <dgm:prSet/>
      <dgm:spPr/>
      <dgm:t>
        <a:bodyPr/>
        <a:lstStyle/>
        <a:p>
          <a:r>
            <a:rPr lang="en-US" dirty="0"/>
            <a:t>Set-</a:t>
          </a:r>
          <a:r>
            <a:rPr lang="en-US" dirty="0" err="1"/>
            <a:t>SPOTenant</a:t>
          </a:r>
          <a:r>
            <a:rPr lang="en-US" dirty="0"/>
            <a:t> –</a:t>
          </a:r>
          <a:r>
            <a:rPr lang="en-US" dirty="0" err="1"/>
            <a:t>SharingDomainRestrictionMode</a:t>
          </a:r>
          <a:endParaRPr lang="nb-NO" dirty="0"/>
        </a:p>
      </dgm:t>
    </dgm:pt>
    <dgm:pt modelId="{D5DA17F6-F1DB-4731-9D22-75BA84A4406D}" type="parTrans" cxnId="{6C046C3A-B27D-432B-AFF1-FB439F2A8310}">
      <dgm:prSet/>
      <dgm:spPr/>
      <dgm:t>
        <a:bodyPr/>
        <a:lstStyle/>
        <a:p>
          <a:endParaRPr lang="en-US"/>
        </a:p>
      </dgm:t>
    </dgm:pt>
    <dgm:pt modelId="{DB4784AF-B33B-43FD-A978-1FF7EAA7FC5D}" type="sibTrans" cxnId="{6C046C3A-B27D-432B-AFF1-FB439F2A8310}">
      <dgm:prSet/>
      <dgm:spPr/>
      <dgm:t>
        <a:bodyPr/>
        <a:lstStyle/>
        <a:p>
          <a:endParaRPr lang="en-US"/>
        </a:p>
      </dgm:t>
    </dgm:pt>
    <dgm:pt modelId="{BEE7F921-2D6C-4E87-9F9A-09B0059353FF}">
      <dgm:prSet/>
      <dgm:spPr/>
      <dgm:t>
        <a:bodyPr/>
        <a:lstStyle/>
        <a:p>
          <a:r>
            <a:rPr lang="en-US" dirty="0"/>
            <a:t>None – External sharing invitations can be sent to any email domain</a:t>
          </a:r>
          <a:endParaRPr lang="nb-NO" dirty="0"/>
        </a:p>
      </dgm:t>
    </dgm:pt>
    <dgm:pt modelId="{C9D32202-B0C2-47B1-B8B2-55CC1C271229}" type="parTrans" cxnId="{20A15C3F-67E4-4914-BFF0-4E81C8983EB2}">
      <dgm:prSet/>
      <dgm:spPr/>
      <dgm:t>
        <a:bodyPr/>
        <a:lstStyle/>
        <a:p>
          <a:endParaRPr lang="en-US"/>
        </a:p>
      </dgm:t>
    </dgm:pt>
    <dgm:pt modelId="{125EC92E-3EB5-41D1-AD94-1EB23ED336C1}" type="sibTrans" cxnId="{20A15C3F-67E4-4914-BFF0-4E81C8983EB2}">
      <dgm:prSet/>
      <dgm:spPr/>
      <dgm:t>
        <a:bodyPr/>
        <a:lstStyle/>
        <a:p>
          <a:endParaRPr lang="en-US"/>
        </a:p>
      </dgm:t>
    </dgm:pt>
    <dgm:pt modelId="{B7EAE106-078F-4C1F-B462-4724EF30F7DE}">
      <dgm:prSet/>
      <dgm:spPr/>
      <dgm:t>
        <a:bodyPr/>
        <a:lstStyle/>
        <a:p>
          <a:r>
            <a:rPr lang="nb-NO" dirty="0"/>
            <a:t>AllowList – External sharing invitations can only be sent to email domains in the SharingAllowedDomainList</a:t>
          </a:r>
        </a:p>
      </dgm:t>
    </dgm:pt>
    <dgm:pt modelId="{4189B99E-89C2-424E-89A6-4F3ED9D1895D}" type="parTrans" cxnId="{986E66E9-F3E6-4FD2-AEDE-24C13B616FE1}">
      <dgm:prSet/>
      <dgm:spPr/>
      <dgm:t>
        <a:bodyPr/>
        <a:lstStyle/>
        <a:p>
          <a:endParaRPr lang="en-US"/>
        </a:p>
      </dgm:t>
    </dgm:pt>
    <dgm:pt modelId="{53D8DAD4-FCE1-4C91-BBFB-3F1B75832082}" type="sibTrans" cxnId="{986E66E9-F3E6-4FD2-AEDE-24C13B616FE1}">
      <dgm:prSet/>
      <dgm:spPr/>
      <dgm:t>
        <a:bodyPr/>
        <a:lstStyle/>
        <a:p>
          <a:endParaRPr lang="en-US"/>
        </a:p>
      </dgm:t>
    </dgm:pt>
    <dgm:pt modelId="{36AA227F-A072-4FA9-9EC9-FEEFF8B72307}">
      <dgm:prSet/>
      <dgm:spPr/>
      <dgm:t>
        <a:bodyPr/>
        <a:lstStyle/>
        <a:p>
          <a:r>
            <a:rPr lang="nb-NO" dirty="0"/>
            <a:t>BlockList - External sharing invitations can not be sent to email domains in the SharingBlockedDomainList</a:t>
          </a:r>
        </a:p>
      </dgm:t>
    </dgm:pt>
    <dgm:pt modelId="{3B09ECF8-6D4E-4274-BB2E-5E7BFF8A2CB6}" type="parTrans" cxnId="{39565FE4-F7D1-430F-9662-E7F49516963D}">
      <dgm:prSet/>
      <dgm:spPr/>
      <dgm:t>
        <a:bodyPr/>
        <a:lstStyle/>
        <a:p>
          <a:endParaRPr lang="en-US"/>
        </a:p>
      </dgm:t>
    </dgm:pt>
    <dgm:pt modelId="{422EF835-DB7F-4328-B2EF-9432812AC8B6}" type="sibTrans" cxnId="{39565FE4-F7D1-430F-9662-E7F49516963D}">
      <dgm:prSet/>
      <dgm:spPr/>
      <dgm:t>
        <a:bodyPr/>
        <a:lstStyle/>
        <a:p>
          <a:endParaRPr lang="en-US"/>
        </a:p>
      </dgm:t>
    </dgm:pt>
    <dgm:pt modelId="{A000AEE9-5E41-4626-B9C7-F221FE9A66C8}">
      <dgm:prSet/>
      <dgm:spPr/>
      <dgm:t>
        <a:bodyPr/>
        <a:lstStyle/>
        <a:p>
          <a:r>
            <a:rPr lang="en-US" dirty="0"/>
            <a:t>Set-</a:t>
          </a:r>
          <a:r>
            <a:rPr lang="en-US" dirty="0" err="1"/>
            <a:t>SPOTenant</a:t>
          </a:r>
          <a:r>
            <a:rPr lang="en-US" dirty="0"/>
            <a:t> –</a:t>
          </a:r>
          <a:r>
            <a:rPr lang="en-US" dirty="0" err="1"/>
            <a:t>SharingAllowedDomainList</a:t>
          </a:r>
          <a:r>
            <a:rPr lang="en-US" dirty="0"/>
            <a:t> - specifies a list of email domains that is allowed for sharing with the external collaborators. </a:t>
          </a:r>
          <a:endParaRPr lang="nb-NO" dirty="0"/>
        </a:p>
      </dgm:t>
    </dgm:pt>
    <dgm:pt modelId="{DEF03EAF-E164-4CDC-A138-4A3B5ED3843F}" type="parTrans" cxnId="{F90616B0-726B-44AA-9A43-AB9933B1D892}">
      <dgm:prSet/>
      <dgm:spPr/>
      <dgm:t>
        <a:bodyPr/>
        <a:lstStyle/>
        <a:p>
          <a:endParaRPr lang="en-US"/>
        </a:p>
      </dgm:t>
    </dgm:pt>
    <dgm:pt modelId="{4F50109E-F536-4439-A336-CDC05A2AFEC3}" type="sibTrans" cxnId="{F90616B0-726B-44AA-9A43-AB9933B1D892}">
      <dgm:prSet/>
      <dgm:spPr/>
      <dgm:t>
        <a:bodyPr/>
        <a:lstStyle/>
        <a:p>
          <a:endParaRPr lang="en-US"/>
        </a:p>
      </dgm:t>
    </dgm:pt>
    <dgm:pt modelId="{47B4F970-9FE5-4491-B539-F6057CB46A94}">
      <dgm:prSet/>
      <dgm:spPr/>
      <dgm:t>
        <a:bodyPr/>
        <a:lstStyle/>
        <a:p>
          <a:r>
            <a:rPr lang="nb-NO" dirty="0"/>
            <a:t>NOTE: Using the AllowList setting is the most restrictive The AllowList and BlockList settings cannot be used together. </a:t>
          </a:r>
        </a:p>
      </dgm:t>
    </dgm:pt>
    <dgm:pt modelId="{94A37B0F-7BFD-4A46-811A-42641C56B025}" type="sibTrans" cxnId="{DB840150-42A0-4EE5-9B9C-D7BBE9BBD97A}">
      <dgm:prSet/>
      <dgm:spPr/>
      <dgm:t>
        <a:bodyPr/>
        <a:lstStyle/>
        <a:p>
          <a:endParaRPr lang="en-US"/>
        </a:p>
      </dgm:t>
    </dgm:pt>
    <dgm:pt modelId="{445E5883-317E-4AAD-8A25-335A0C412849}" type="parTrans" cxnId="{DB840150-42A0-4EE5-9B9C-D7BBE9BBD97A}">
      <dgm:prSet/>
      <dgm:spPr/>
      <dgm:t>
        <a:bodyPr/>
        <a:lstStyle/>
        <a:p>
          <a:endParaRPr lang="en-US"/>
        </a:p>
      </dgm:t>
    </dgm:pt>
    <dgm:pt modelId="{5E7211C6-8010-4C4E-830F-7EC1719DD85A}">
      <dgm:prSet/>
      <dgm:spPr/>
      <dgm:t>
        <a:bodyPr/>
        <a:lstStyle/>
        <a:p>
          <a:r>
            <a:rPr lang="en-US" dirty="0"/>
            <a:t>Set-</a:t>
          </a:r>
          <a:r>
            <a:rPr lang="en-US" dirty="0" err="1"/>
            <a:t>SPOTenant</a:t>
          </a:r>
          <a:r>
            <a:rPr lang="en-US" dirty="0"/>
            <a:t> –</a:t>
          </a:r>
          <a:r>
            <a:rPr lang="en-US" dirty="0" err="1"/>
            <a:t>SharingBlockedDomainList</a:t>
          </a:r>
          <a:r>
            <a:rPr lang="en-US" dirty="0"/>
            <a:t> - specifies a list of email domains that are blocked or prohibited for sharing with the external collaborators. </a:t>
          </a:r>
          <a:endParaRPr lang="nb-NO" dirty="0"/>
        </a:p>
      </dgm:t>
    </dgm:pt>
    <dgm:pt modelId="{1572F7EF-4A99-4069-B63E-DD09D45B49CE}" type="parTrans" cxnId="{7F8469C5-EDC9-4BF5-B3C3-E1A503765B8B}">
      <dgm:prSet/>
      <dgm:spPr/>
      <dgm:t>
        <a:bodyPr/>
        <a:lstStyle/>
        <a:p>
          <a:endParaRPr lang="en-US"/>
        </a:p>
      </dgm:t>
    </dgm:pt>
    <dgm:pt modelId="{69DC5836-DD41-429F-A92C-13451891E8BF}" type="sibTrans" cxnId="{7F8469C5-EDC9-4BF5-B3C3-E1A503765B8B}">
      <dgm:prSet/>
      <dgm:spPr/>
      <dgm:t>
        <a:bodyPr/>
        <a:lstStyle/>
        <a:p>
          <a:endParaRPr lang="en-US"/>
        </a:p>
      </dgm:t>
    </dgm:pt>
    <dgm:pt modelId="{660E72A5-F752-451C-8113-1BCEB6E08275}" type="pres">
      <dgm:prSet presAssocID="{F97005C5-38FF-43D7-8130-A3864574D010}" presName="linear" presStyleCnt="0">
        <dgm:presLayoutVars>
          <dgm:animLvl val="lvl"/>
          <dgm:resizeHandles val="exact"/>
        </dgm:presLayoutVars>
      </dgm:prSet>
      <dgm:spPr/>
    </dgm:pt>
    <dgm:pt modelId="{0E7807A2-1104-4A51-82F5-12EEDC1D6190}" type="pres">
      <dgm:prSet presAssocID="{9B699B3F-82FD-4BC0-A60E-E17F8F285EAF}" presName="parentText" presStyleLbl="node1" presStyleIdx="0" presStyleCnt="2">
        <dgm:presLayoutVars>
          <dgm:chMax val="0"/>
          <dgm:bulletEnabled val="1"/>
        </dgm:presLayoutVars>
      </dgm:prSet>
      <dgm:spPr/>
    </dgm:pt>
    <dgm:pt modelId="{3E23E164-653D-46DD-BA4D-C43F5F2EC041}" type="pres">
      <dgm:prSet presAssocID="{62442630-202A-4B79-BC1C-EAAC79CDACBE}" presName="spacer" presStyleCnt="0"/>
      <dgm:spPr/>
    </dgm:pt>
    <dgm:pt modelId="{2E03E549-EA63-497E-AEE2-C3AB1B0F580C}" type="pres">
      <dgm:prSet presAssocID="{86151943-B6B2-47F9-97F6-16A3FAC6970F}" presName="parentText" presStyleLbl="node1" presStyleIdx="1" presStyleCnt="2">
        <dgm:presLayoutVars>
          <dgm:chMax val="0"/>
          <dgm:bulletEnabled val="1"/>
        </dgm:presLayoutVars>
      </dgm:prSet>
      <dgm:spPr/>
    </dgm:pt>
    <dgm:pt modelId="{AD7D0B9D-B953-4B79-975C-0D0E1108B154}" type="pres">
      <dgm:prSet presAssocID="{86151943-B6B2-47F9-97F6-16A3FAC6970F}" presName="childText" presStyleLbl="revTx" presStyleIdx="0" presStyleCnt="1">
        <dgm:presLayoutVars>
          <dgm:bulletEnabled val="1"/>
        </dgm:presLayoutVars>
      </dgm:prSet>
      <dgm:spPr/>
    </dgm:pt>
  </dgm:ptLst>
  <dgm:cxnLst>
    <dgm:cxn modelId="{E49C1512-67A7-4397-81F1-CDF1F2154805}" type="presOf" srcId="{A000AEE9-5E41-4626-B9C7-F221FE9A66C8}" destId="{AD7D0B9D-B953-4B79-975C-0D0E1108B154}" srcOrd="0" destOrd="4" presId="urn:microsoft.com/office/officeart/2005/8/layout/vList2"/>
    <dgm:cxn modelId="{B026A821-5A41-4C1D-BD4C-D0A11A451F53}" type="presOf" srcId="{F97005C5-38FF-43D7-8130-A3864574D010}" destId="{660E72A5-F752-451C-8113-1BCEB6E08275}" srcOrd="0" destOrd="0" presId="urn:microsoft.com/office/officeart/2005/8/layout/vList2"/>
    <dgm:cxn modelId="{6C046C3A-B27D-432B-AFF1-FB439F2A8310}" srcId="{F97005C5-38FF-43D7-8130-A3864574D010}" destId="{86151943-B6B2-47F9-97F6-16A3FAC6970F}" srcOrd="1" destOrd="0" parTransId="{D5DA17F6-F1DB-4731-9D22-75BA84A4406D}" sibTransId="{DB4784AF-B33B-43FD-A978-1FF7EAA7FC5D}"/>
    <dgm:cxn modelId="{20A15C3F-67E4-4914-BFF0-4E81C8983EB2}" srcId="{86151943-B6B2-47F9-97F6-16A3FAC6970F}" destId="{BEE7F921-2D6C-4E87-9F9A-09B0059353FF}" srcOrd="0" destOrd="0" parTransId="{C9D32202-B0C2-47B1-B8B2-55CC1C271229}" sibTransId="{125EC92E-3EB5-41D1-AD94-1EB23ED336C1}"/>
    <dgm:cxn modelId="{7EFE4667-EA59-4EA0-8C4D-2F4870246D86}" type="presOf" srcId="{36AA227F-A072-4FA9-9EC9-FEEFF8B72307}" destId="{AD7D0B9D-B953-4B79-975C-0D0E1108B154}" srcOrd="0" destOrd="2" presId="urn:microsoft.com/office/officeart/2005/8/layout/vList2"/>
    <dgm:cxn modelId="{DBF00F4A-DBCD-4F92-ADF7-2BEA4B0D3965}" type="presOf" srcId="{9B699B3F-82FD-4BC0-A60E-E17F8F285EAF}" destId="{0E7807A2-1104-4A51-82F5-12EEDC1D6190}" srcOrd="0" destOrd="0" presId="urn:microsoft.com/office/officeart/2005/8/layout/vList2"/>
    <dgm:cxn modelId="{DB840150-42A0-4EE5-9B9C-D7BBE9BBD97A}" srcId="{86151943-B6B2-47F9-97F6-16A3FAC6970F}" destId="{47B4F970-9FE5-4491-B539-F6057CB46A94}" srcOrd="3" destOrd="0" parTransId="{445E5883-317E-4AAD-8A25-335A0C412849}" sibTransId="{94A37B0F-7BFD-4A46-811A-42641C56B025}"/>
    <dgm:cxn modelId="{CC486652-AD3B-4C43-AB4F-31F1D82E3495}" srcId="{F97005C5-38FF-43D7-8130-A3864574D010}" destId="{9B699B3F-82FD-4BC0-A60E-E17F8F285EAF}" srcOrd="0" destOrd="0" parTransId="{4D94ADB0-EE50-4FEB-93B6-5FEE9CDE4385}" sibTransId="{62442630-202A-4B79-BC1C-EAAC79CDACBE}"/>
    <dgm:cxn modelId="{349B927C-E455-43BE-9AAA-AF96CDE3CC16}" type="presOf" srcId="{47B4F970-9FE5-4491-B539-F6057CB46A94}" destId="{AD7D0B9D-B953-4B79-975C-0D0E1108B154}" srcOrd="0" destOrd="3" presId="urn:microsoft.com/office/officeart/2005/8/layout/vList2"/>
    <dgm:cxn modelId="{F90616B0-726B-44AA-9A43-AB9933B1D892}" srcId="{86151943-B6B2-47F9-97F6-16A3FAC6970F}" destId="{A000AEE9-5E41-4626-B9C7-F221FE9A66C8}" srcOrd="4" destOrd="0" parTransId="{DEF03EAF-E164-4CDC-A138-4A3B5ED3843F}" sibTransId="{4F50109E-F536-4439-A336-CDC05A2AFEC3}"/>
    <dgm:cxn modelId="{6915AAB0-0EE6-45F7-88FF-DCB14B5D28E8}" type="presOf" srcId="{86151943-B6B2-47F9-97F6-16A3FAC6970F}" destId="{2E03E549-EA63-497E-AEE2-C3AB1B0F580C}" srcOrd="0" destOrd="0" presId="urn:microsoft.com/office/officeart/2005/8/layout/vList2"/>
    <dgm:cxn modelId="{7F8469C5-EDC9-4BF5-B3C3-E1A503765B8B}" srcId="{86151943-B6B2-47F9-97F6-16A3FAC6970F}" destId="{5E7211C6-8010-4C4E-830F-7EC1719DD85A}" srcOrd="5" destOrd="0" parTransId="{1572F7EF-4A99-4069-B63E-DD09D45B49CE}" sibTransId="{69DC5836-DD41-429F-A92C-13451891E8BF}"/>
    <dgm:cxn modelId="{39565FE4-F7D1-430F-9662-E7F49516963D}" srcId="{86151943-B6B2-47F9-97F6-16A3FAC6970F}" destId="{36AA227F-A072-4FA9-9EC9-FEEFF8B72307}" srcOrd="2" destOrd="0" parTransId="{3B09ECF8-6D4E-4274-BB2E-5E7BFF8A2CB6}" sibTransId="{422EF835-DB7F-4328-B2EF-9432812AC8B6}"/>
    <dgm:cxn modelId="{806CCFE8-544A-4643-B792-5E1F018804C8}" type="presOf" srcId="{B7EAE106-078F-4C1F-B462-4724EF30F7DE}" destId="{AD7D0B9D-B953-4B79-975C-0D0E1108B154}" srcOrd="0" destOrd="1" presId="urn:microsoft.com/office/officeart/2005/8/layout/vList2"/>
    <dgm:cxn modelId="{986E66E9-F3E6-4FD2-AEDE-24C13B616FE1}" srcId="{86151943-B6B2-47F9-97F6-16A3FAC6970F}" destId="{B7EAE106-078F-4C1F-B462-4724EF30F7DE}" srcOrd="1" destOrd="0" parTransId="{4189B99E-89C2-424E-89A6-4F3ED9D1895D}" sibTransId="{53D8DAD4-FCE1-4C91-BBFB-3F1B75832082}"/>
    <dgm:cxn modelId="{F1C991F8-DD94-40B3-B9EA-0D391D99EAD6}" type="presOf" srcId="{5E7211C6-8010-4C4E-830F-7EC1719DD85A}" destId="{AD7D0B9D-B953-4B79-975C-0D0E1108B154}" srcOrd="0" destOrd="5" presId="urn:microsoft.com/office/officeart/2005/8/layout/vList2"/>
    <dgm:cxn modelId="{ABC607FC-A9C7-4F28-BC0D-66C44DC3DEA0}" type="presOf" srcId="{BEE7F921-2D6C-4E87-9F9A-09B0059353FF}" destId="{AD7D0B9D-B953-4B79-975C-0D0E1108B154}" srcOrd="0" destOrd="0" presId="urn:microsoft.com/office/officeart/2005/8/layout/vList2"/>
    <dgm:cxn modelId="{591C2A39-81BC-4115-B64E-7DB30363BF95}" type="presParOf" srcId="{660E72A5-F752-451C-8113-1BCEB6E08275}" destId="{0E7807A2-1104-4A51-82F5-12EEDC1D6190}" srcOrd="0" destOrd="0" presId="urn:microsoft.com/office/officeart/2005/8/layout/vList2"/>
    <dgm:cxn modelId="{9E433371-917E-4818-AD6A-172872B62B20}" type="presParOf" srcId="{660E72A5-F752-451C-8113-1BCEB6E08275}" destId="{3E23E164-653D-46DD-BA4D-C43F5F2EC041}" srcOrd="1" destOrd="0" presId="urn:microsoft.com/office/officeart/2005/8/layout/vList2"/>
    <dgm:cxn modelId="{7DF21FB1-43C3-484B-A9C6-14DF3801AFC6}" type="presParOf" srcId="{660E72A5-F752-451C-8113-1BCEB6E08275}" destId="{2E03E549-EA63-497E-AEE2-C3AB1B0F580C}" srcOrd="2" destOrd="0" presId="urn:microsoft.com/office/officeart/2005/8/layout/vList2"/>
    <dgm:cxn modelId="{0B0CCA8E-3ADB-495B-9767-C39A0A7E1AF1}" type="presParOf" srcId="{660E72A5-F752-451C-8113-1BCEB6E08275}" destId="{AD7D0B9D-B953-4B79-975C-0D0E1108B154}"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8229AC9-5017-409D-8698-38B80E05884B}"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B6516F0-486C-4795-BBA7-7301C6EF3F60}">
      <dgm:prSet/>
      <dgm:spPr/>
      <dgm:t>
        <a:bodyPr/>
        <a:lstStyle/>
        <a:p>
          <a:r>
            <a:rPr lang="en-US"/>
            <a:t>Get-Help</a:t>
          </a:r>
          <a:endParaRPr lang="nb-NO"/>
        </a:p>
      </dgm:t>
    </dgm:pt>
    <dgm:pt modelId="{32FFEDF7-2144-4973-913E-BCF3B0A1B902}" type="parTrans" cxnId="{B29AF870-3D62-4D61-BFB3-5253F7908F14}">
      <dgm:prSet/>
      <dgm:spPr/>
      <dgm:t>
        <a:bodyPr/>
        <a:lstStyle/>
        <a:p>
          <a:endParaRPr lang="en-US"/>
        </a:p>
      </dgm:t>
    </dgm:pt>
    <dgm:pt modelId="{B9A4600E-1501-4A58-B423-5E4FA7F6B233}" type="sibTrans" cxnId="{B29AF870-3D62-4D61-BFB3-5253F7908F14}">
      <dgm:prSet/>
      <dgm:spPr/>
      <dgm:t>
        <a:bodyPr/>
        <a:lstStyle/>
        <a:p>
          <a:endParaRPr lang="en-US"/>
        </a:p>
      </dgm:t>
    </dgm:pt>
    <dgm:pt modelId="{CE715BD7-BB76-4759-A720-85578F16C11C}">
      <dgm:prSet/>
      <dgm:spPr/>
      <dgm:t>
        <a:bodyPr/>
        <a:lstStyle/>
        <a:p>
          <a:r>
            <a:rPr lang="en-US"/>
            <a:t>|FL    - Format List </a:t>
          </a:r>
          <a:endParaRPr lang="nb-NO"/>
        </a:p>
      </dgm:t>
    </dgm:pt>
    <dgm:pt modelId="{DCFD6E5C-D57A-4669-BE7A-14BA0DB20075}" type="parTrans" cxnId="{77B546B2-8AF9-46C7-9B9A-E29989B28A24}">
      <dgm:prSet/>
      <dgm:spPr/>
      <dgm:t>
        <a:bodyPr/>
        <a:lstStyle/>
        <a:p>
          <a:endParaRPr lang="en-US"/>
        </a:p>
      </dgm:t>
    </dgm:pt>
    <dgm:pt modelId="{0B00B82B-B5DC-47F0-B790-86BB130F8A1C}" type="sibTrans" cxnId="{77B546B2-8AF9-46C7-9B9A-E29989B28A24}">
      <dgm:prSet/>
      <dgm:spPr/>
      <dgm:t>
        <a:bodyPr/>
        <a:lstStyle/>
        <a:p>
          <a:endParaRPr lang="en-US"/>
        </a:p>
      </dgm:t>
    </dgm:pt>
    <dgm:pt modelId="{0AB70438-5F73-4861-A75F-635D0FAC715E}">
      <dgm:prSet/>
      <dgm:spPr/>
      <dgm:t>
        <a:bodyPr/>
        <a:lstStyle/>
        <a:p>
          <a:r>
            <a:rPr lang="en-US" dirty="0"/>
            <a:t>|FT    - </a:t>
          </a:r>
          <a:r>
            <a:rPr lang="en-US"/>
            <a:t>Format Table </a:t>
          </a:r>
          <a:endParaRPr lang="nb-NO" dirty="0"/>
        </a:p>
      </dgm:t>
    </dgm:pt>
    <dgm:pt modelId="{C696CAE8-E072-4785-8CA3-EBE3F8B84D49}" type="parTrans" cxnId="{915F8A2A-7F08-4562-9ED6-40489C8144F3}">
      <dgm:prSet/>
      <dgm:spPr/>
      <dgm:t>
        <a:bodyPr/>
        <a:lstStyle/>
        <a:p>
          <a:endParaRPr lang="en-US"/>
        </a:p>
      </dgm:t>
    </dgm:pt>
    <dgm:pt modelId="{23FE99D1-83EE-4B84-A018-D35A20149825}" type="sibTrans" cxnId="{915F8A2A-7F08-4562-9ED6-40489C8144F3}">
      <dgm:prSet/>
      <dgm:spPr/>
      <dgm:t>
        <a:bodyPr/>
        <a:lstStyle/>
        <a:p>
          <a:endParaRPr lang="en-US"/>
        </a:p>
      </dgm:t>
    </dgm:pt>
    <dgm:pt modelId="{7518CF47-087C-4610-ACBC-C590DBD8E506}" type="pres">
      <dgm:prSet presAssocID="{C8229AC9-5017-409D-8698-38B80E05884B}" presName="linear" presStyleCnt="0">
        <dgm:presLayoutVars>
          <dgm:animLvl val="lvl"/>
          <dgm:resizeHandles val="exact"/>
        </dgm:presLayoutVars>
      </dgm:prSet>
      <dgm:spPr/>
    </dgm:pt>
    <dgm:pt modelId="{99B0C613-D13B-4C35-9218-05735F0CD7B8}" type="pres">
      <dgm:prSet presAssocID="{0B6516F0-486C-4795-BBA7-7301C6EF3F60}" presName="parentText" presStyleLbl="node1" presStyleIdx="0" presStyleCnt="3">
        <dgm:presLayoutVars>
          <dgm:chMax val="0"/>
          <dgm:bulletEnabled val="1"/>
        </dgm:presLayoutVars>
      </dgm:prSet>
      <dgm:spPr/>
    </dgm:pt>
    <dgm:pt modelId="{B081319D-C9C8-43D2-9BCF-FD4C57C20AC3}" type="pres">
      <dgm:prSet presAssocID="{B9A4600E-1501-4A58-B423-5E4FA7F6B233}" presName="spacer" presStyleCnt="0"/>
      <dgm:spPr/>
    </dgm:pt>
    <dgm:pt modelId="{0F391A78-7CC8-4EED-967A-8C075C421A75}" type="pres">
      <dgm:prSet presAssocID="{CE715BD7-BB76-4759-A720-85578F16C11C}" presName="parentText" presStyleLbl="node1" presStyleIdx="1" presStyleCnt="3">
        <dgm:presLayoutVars>
          <dgm:chMax val="0"/>
          <dgm:bulletEnabled val="1"/>
        </dgm:presLayoutVars>
      </dgm:prSet>
      <dgm:spPr/>
    </dgm:pt>
    <dgm:pt modelId="{A7A1EA06-EED9-4F48-898E-531D383E576D}" type="pres">
      <dgm:prSet presAssocID="{0B00B82B-B5DC-47F0-B790-86BB130F8A1C}" presName="spacer" presStyleCnt="0"/>
      <dgm:spPr/>
    </dgm:pt>
    <dgm:pt modelId="{E66027F3-A0C6-4F96-8568-300664E8980C}" type="pres">
      <dgm:prSet presAssocID="{0AB70438-5F73-4861-A75F-635D0FAC715E}" presName="parentText" presStyleLbl="node1" presStyleIdx="2" presStyleCnt="3">
        <dgm:presLayoutVars>
          <dgm:chMax val="0"/>
          <dgm:bulletEnabled val="1"/>
        </dgm:presLayoutVars>
      </dgm:prSet>
      <dgm:spPr/>
    </dgm:pt>
  </dgm:ptLst>
  <dgm:cxnLst>
    <dgm:cxn modelId="{915F8A2A-7F08-4562-9ED6-40489C8144F3}" srcId="{C8229AC9-5017-409D-8698-38B80E05884B}" destId="{0AB70438-5F73-4861-A75F-635D0FAC715E}" srcOrd="2" destOrd="0" parTransId="{C696CAE8-E072-4785-8CA3-EBE3F8B84D49}" sibTransId="{23FE99D1-83EE-4B84-A018-D35A20149825}"/>
    <dgm:cxn modelId="{5D21F333-63B3-42FF-8C92-694A202EA068}" type="presOf" srcId="{0B6516F0-486C-4795-BBA7-7301C6EF3F60}" destId="{99B0C613-D13B-4C35-9218-05735F0CD7B8}" srcOrd="0" destOrd="0" presId="urn:microsoft.com/office/officeart/2005/8/layout/vList2"/>
    <dgm:cxn modelId="{E166906C-04A0-406B-9934-ED977BFAB5C7}" type="presOf" srcId="{CE715BD7-BB76-4759-A720-85578F16C11C}" destId="{0F391A78-7CC8-4EED-967A-8C075C421A75}" srcOrd="0" destOrd="0" presId="urn:microsoft.com/office/officeart/2005/8/layout/vList2"/>
    <dgm:cxn modelId="{B29AF870-3D62-4D61-BFB3-5253F7908F14}" srcId="{C8229AC9-5017-409D-8698-38B80E05884B}" destId="{0B6516F0-486C-4795-BBA7-7301C6EF3F60}" srcOrd="0" destOrd="0" parTransId="{32FFEDF7-2144-4973-913E-BCF3B0A1B902}" sibTransId="{B9A4600E-1501-4A58-B423-5E4FA7F6B233}"/>
    <dgm:cxn modelId="{3CC1D651-4DCD-47D1-9CD5-D8647F63088D}" type="presOf" srcId="{0AB70438-5F73-4861-A75F-635D0FAC715E}" destId="{E66027F3-A0C6-4F96-8568-300664E8980C}" srcOrd="0" destOrd="0" presId="urn:microsoft.com/office/officeart/2005/8/layout/vList2"/>
    <dgm:cxn modelId="{77B546B2-8AF9-46C7-9B9A-E29989B28A24}" srcId="{C8229AC9-5017-409D-8698-38B80E05884B}" destId="{CE715BD7-BB76-4759-A720-85578F16C11C}" srcOrd="1" destOrd="0" parTransId="{DCFD6E5C-D57A-4669-BE7A-14BA0DB20075}" sibTransId="{0B00B82B-B5DC-47F0-B790-86BB130F8A1C}"/>
    <dgm:cxn modelId="{316CB8D7-C737-4EA5-803C-130F7A2A4F35}" type="presOf" srcId="{C8229AC9-5017-409D-8698-38B80E05884B}" destId="{7518CF47-087C-4610-ACBC-C590DBD8E506}" srcOrd="0" destOrd="0" presId="urn:microsoft.com/office/officeart/2005/8/layout/vList2"/>
    <dgm:cxn modelId="{B7846004-44D9-4A80-978A-1170A3CDA3E1}" type="presParOf" srcId="{7518CF47-087C-4610-ACBC-C590DBD8E506}" destId="{99B0C613-D13B-4C35-9218-05735F0CD7B8}" srcOrd="0" destOrd="0" presId="urn:microsoft.com/office/officeart/2005/8/layout/vList2"/>
    <dgm:cxn modelId="{79C6479F-C60E-4BE9-A773-57E11B808CD0}" type="presParOf" srcId="{7518CF47-087C-4610-ACBC-C590DBD8E506}" destId="{B081319D-C9C8-43D2-9BCF-FD4C57C20AC3}" srcOrd="1" destOrd="0" presId="urn:microsoft.com/office/officeart/2005/8/layout/vList2"/>
    <dgm:cxn modelId="{148E305E-2956-4E3D-803F-F8CDD7102C69}" type="presParOf" srcId="{7518CF47-087C-4610-ACBC-C590DBD8E506}" destId="{0F391A78-7CC8-4EED-967A-8C075C421A75}" srcOrd="2" destOrd="0" presId="urn:microsoft.com/office/officeart/2005/8/layout/vList2"/>
    <dgm:cxn modelId="{D79C53AE-51F8-4C53-9E98-6D35FB583C53}" type="presParOf" srcId="{7518CF47-087C-4610-ACBC-C590DBD8E506}" destId="{A7A1EA06-EED9-4F48-898E-531D383E576D}" srcOrd="3" destOrd="0" presId="urn:microsoft.com/office/officeart/2005/8/layout/vList2"/>
    <dgm:cxn modelId="{1ECB45D6-8D7A-4C09-AE7E-DFC7E33179A5}" type="presParOf" srcId="{7518CF47-087C-4610-ACBC-C590DBD8E506}" destId="{E66027F3-A0C6-4F96-8568-300664E8980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0DA0374-551B-4728-AD3F-E522DAAEAFDE}"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8BF55220-6F6B-4D55-8A36-10796500C0E4}">
      <dgm:prSet/>
      <dgm:spPr/>
      <dgm:t>
        <a:bodyPr/>
        <a:lstStyle/>
        <a:p>
          <a:r>
            <a:rPr lang="en-US" dirty="0"/>
            <a:t>Use the Get-help command to get help with other SharePoint Online commands.</a:t>
          </a:r>
          <a:endParaRPr lang="nb-NO" dirty="0"/>
        </a:p>
      </dgm:t>
    </dgm:pt>
    <dgm:pt modelId="{6B51E5E3-2B2C-4440-AAB5-AC9082F36E4B}" type="parTrans" cxnId="{CFB9103B-082B-41CF-BCD2-603C1820588F}">
      <dgm:prSet/>
      <dgm:spPr/>
      <dgm:t>
        <a:bodyPr/>
        <a:lstStyle/>
        <a:p>
          <a:endParaRPr lang="en-US"/>
        </a:p>
      </dgm:t>
    </dgm:pt>
    <dgm:pt modelId="{758832B6-EF4E-419D-8B33-F3076E6507F3}" type="sibTrans" cxnId="{CFB9103B-082B-41CF-BCD2-603C1820588F}">
      <dgm:prSet/>
      <dgm:spPr/>
      <dgm:t>
        <a:bodyPr/>
        <a:lstStyle/>
        <a:p>
          <a:endParaRPr lang="en-US"/>
        </a:p>
      </dgm:t>
    </dgm:pt>
    <dgm:pt modelId="{61C1F032-745C-4957-81AE-5C3DE754AC3A}">
      <dgm:prSet/>
      <dgm:spPr/>
      <dgm:t>
        <a:bodyPr/>
        <a:lstStyle/>
        <a:p>
          <a:r>
            <a:rPr lang="en-US" dirty="0"/>
            <a:t>Get-Help &lt;command&gt; –detailed </a:t>
          </a:r>
          <a:endParaRPr lang="nb-NO" dirty="0"/>
        </a:p>
      </dgm:t>
    </dgm:pt>
    <dgm:pt modelId="{3404C894-7A37-4C68-8EC5-DF8FB11C20E7}" type="parTrans" cxnId="{2994B0A5-1FE9-482D-BA6E-5FE863A2BFEC}">
      <dgm:prSet/>
      <dgm:spPr/>
      <dgm:t>
        <a:bodyPr/>
        <a:lstStyle/>
        <a:p>
          <a:endParaRPr lang="en-US"/>
        </a:p>
      </dgm:t>
    </dgm:pt>
    <dgm:pt modelId="{B87DC2E3-C38A-4780-B4FC-0D37BC5C6092}" type="sibTrans" cxnId="{2994B0A5-1FE9-482D-BA6E-5FE863A2BFEC}">
      <dgm:prSet/>
      <dgm:spPr/>
      <dgm:t>
        <a:bodyPr/>
        <a:lstStyle/>
        <a:p>
          <a:endParaRPr lang="en-US"/>
        </a:p>
      </dgm:t>
    </dgm:pt>
    <dgm:pt modelId="{2DE6A927-8605-484D-A32B-872F90985CC7}">
      <dgm:prSet/>
      <dgm:spPr/>
      <dgm:t>
        <a:bodyPr/>
        <a:lstStyle/>
        <a:p>
          <a:r>
            <a:rPr lang="en-US"/>
            <a:t>Provides the name, synopsis, syntax, description, related links, and remarks for the</a:t>
          </a:r>
          <a:endParaRPr lang="nb-NO"/>
        </a:p>
      </dgm:t>
    </dgm:pt>
    <dgm:pt modelId="{C63885C6-4310-44C2-89A5-6015315196EC}" type="parTrans" cxnId="{687C80FF-9839-4450-9C07-ED1A7D4A72DF}">
      <dgm:prSet/>
      <dgm:spPr/>
      <dgm:t>
        <a:bodyPr/>
        <a:lstStyle/>
        <a:p>
          <a:endParaRPr lang="en-US"/>
        </a:p>
      </dgm:t>
    </dgm:pt>
    <dgm:pt modelId="{C83F7537-CBFD-47C4-9347-EC78B2A2EFA9}" type="sibTrans" cxnId="{687C80FF-9839-4450-9C07-ED1A7D4A72DF}">
      <dgm:prSet/>
      <dgm:spPr/>
      <dgm:t>
        <a:bodyPr/>
        <a:lstStyle/>
        <a:p>
          <a:endParaRPr lang="en-US"/>
        </a:p>
      </dgm:t>
    </dgm:pt>
    <dgm:pt modelId="{62146227-508E-48E7-B69B-1F90F2A7D7D0}">
      <dgm:prSet/>
      <dgm:spPr/>
      <dgm:t>
        <a:bodyPr/>
        <a:lstStyle/>
        <a:p>
          <a:r>
            <a:rPr lang="en-US"/>
            <a:t>For example: Get-help Get-SPOtenant –detailed </a:t>
          </a:r>
          <a:endParaRPr lang="nb-NO"/>
        </a:p>
      </dgm:t>
    </dgm:pt>
    <dgm:pt modelId="{EFAC43FC-AED4-44D9-AE21-ED60BD269438}" type="parTrans" cxnId="{334AFEEF-62D0-4474-ACD3-E6CA5B4F2B35}">
      <dgm:prSet/>
      <dgm:spPr/>
      <dgm:t>
        <a:bodyPr/>
        <a:lstStyle/>
        <a:p>
          <a:endParaRPr lang="en-US"/>
        </a:p>
      </dgm:t>
    </dgm:pt>
    <dgm:pt modelId="{F9841242-B0C7-42AF-BD02-8A3D76D6FF0D}" type="sibTrans" cxnId="{334AFEEF-62D0-4474-ACD3-E6CA5B4F2B35}">
      <dgm:prSet/>
      <dgm:spPr/>
      <dgm:t>
        <a:bodyPr/>
        <a:lstStyle/>
        <a:p>
          <a:endParaRPr lang="en-US"/>
        </a:p>
      </dgm:t>
    </dgm:pt>
    <dgm:pt modelId="{C3E399D4-1150-4B8F-819E-D89BC6FB5C35}" type="pres">
      <dgm:prSet presAssocID="{50DA0374-551B-4728-AD3F-E522DAAEAFDE}" presName="linear" presStyleCnt="0">
        <dgm:presLayoutVars>
          <dgm:animLvl val="lvl"/>
          <dgm:resizeHandles val="exact"/>
        </dgm:presLayoutVars>
      </dgm:prSet>
      <dgm:spPr/>
    </dgm:pt>
    <dgm:pt modelId="{F968AD80-41B5-430E-9DD6-396E38746D20}" type="pres">
      <dgm:prSet presAssocID="{8BF55220-6F6B-4D55-8A36-10796500C0E4}" presName="parentText" presStyleLbl="node1" presStyleIdx="0" presStyleCnt="2">
        <dgm:presLayoutVars>
          <dgm:chMax val="0"/>
          <dgm:bulletEnabled val="1"/>
        </dgm:presLayoutVars>
      </dgm:prSet>
      <dgm:spPr/>
    </dgm:pt>
    <dgm:pt modelId="{2910C1A8-B5D6-43B0-A9CC-F9A652EFC570}" type="pres">
      <dgm:prSet presAssocID="{8BF55220-6F6B-4D55-8A36-10796500C0E4}" presName="childText" presStyleLbl="revTx" presStyleIdx="0" presStyleCnt="2">
        <dgm:presLayoutVars>
          <dgm:bulletEnabled val="1"/>
        </dgm:presLayoutVars>
      </dgm:prSet>
      <dgm:spPr/>
    </dgm:pt>
    <dgm:pt modelId="{075BF9B2-84C8-481C-8EF3-218B1B3D6A42}" type="pres">
      <dgm:prSet presAssocID="{2DE6A927-8605-484D-A32B-872F90985CC7}" presName="parentText" presStyleLbl="node1" presStyleIdx="1" presStyleCnt="2">
        <dgm:presLayoutVars>
          <dgm:chMax val="0"/>
          <dgm:bulletEnabled val="1"/>
        </dgm:presLayoutVars>
      </dgm:prSet>
      <dgm:spPr/>
    </dgm:pt>
    <dgm:pt modelId="{D0398CF2-E967-4728-98AC-B5DEDEDACA2A}" type="pres">
      <dgm:prSet presAssocID="{2DE6A927-8605-484D-A32B-872F90985CC7}" presName="childText" presStyleLbl="revTx" presStyleIdx="1" presStyleCnt="2">
        <dgm:presLayoutVars>
          <dgm:bulletEnabled val="1"/>
        </dgm:presLayoutVars>
      </dgm:prSet>
      <dgm:spPr/>
    </dgm:pt>
  </dgm:ptLst>
  <dgm:cxnLst>
    <dgm:cxn modelId="{7B681D02-1766-4502-B51E-4A276B014CA2}" type="presOf" srcId="{61C1F032-745C-4957-81AE-5C3DE754AC3A}" destId="{2910C1A8-B5D6-43B0-A9CC-F9A652EFC570}" srcOrd="0" destOrd="0" presId="urn:microsoft.com/office/officeart/2005/8/layout/vList2"/>
    <dgm:cxn modelId="{CFB9103B-082B-41CF-BCD2-603C1820588F}" srcId="{50DA0374-551B-4728-AD3F-E522DAAEAFDE}" destId="{8BF55220-6F6B-4D55-8A36-10796500C0E4}" srcOrd="0" destOrd="0" parTransId="{6B51E5E3-2B2C-4440-AAB5-AC9082F36E4B}" sibTransId="{758832B6-EF4E-419D-8B33-F3076E6507F3}"/>
    <dgm:cxn modelId="{B20B025E-3735-46EF-83CB-5C963E448969}" type="presOf" srcId="{2DE6A927-8605-484D-A32B-872F90985CC7}" destId="{075BF9B2-84C8-481C-8EF3-218B1B3D6A42}" srcOrd="0" destOrd="0" presId="urn:microsoft.com/office/officeart/2005/8/layout/vList2"/>
    <dgm:cxn modelId="{77D1B28F-0DAE-4F54-979C-0475A637A327}" type="presOf" srcId="{62146227-508E-48E7-B69B-1F90F2A7D7D0}" destId="{D0398CF2-E967-4728-98AC-B5DEDEDACA2A}" srcOrd="0" destOrd="0" presId="urn:microsoft.com/office/officeart/2005/8/layout/vList2"/>
    <dgm:cxn modelId="{2994B0A5-1FE9-482D-BA6E-5FE863A2BFEC}" srcId="{8BF55220-6F6B-4D55-8A36-10796500C0E4}" destId="{61C1F032-745C-4957-81AE-5C3DE754AC3A}" srcOrd="0" destOrd="0" parTransId="{3404C894-7A37-4C68-8EC5-DF8FB11C20E7}" sibTransId="{B87DC2E3-C38A-4780-B4FC-0D37BC5C6092}"/>
    <dgm:cxn modelId="{B7044BD4-2CD5-415B-B101-287867EA8F76}" type="presOf" srcId="{50DA0374-551B-4728-AD3F-E522DAAEAFDE}" destId="{C3E399D4-1150-4B8F-819E-D89BC6FB5C35}" srcOrd="0" destOrd="0" presId="urn:microsoft.com/office/officeart/2005/8/layout/vList2"/>
    <dgm:cxn modelId="{80A551D9-4475-41F8-B668-A82618BC5AA3}" type="presOf" srcId="{8BF55220-6F6B-4D55-8A36-10796500C0E4}" destId="{F968AD80-41B5-430E-9DD6-396E38746D20}" srcOrd="0" destOrd="0" presId="urn:microsoft.com/office/officeart/2005/8/layout/vList2"/>
    <dgm:cxn modelId="{334AFEEF-62D0-4474-ACD3-E6CA5B4F2B35}" srcId="{2DE6A927-8605-484D-A32B-872F90985CC7}" destId="{62146227-508E-48E7-B69B-1F90F2A7D7D0}" srcOrd="0" destOrd="0" parTransId="{EFAC43FC-AED4-44D9-AE21-ED60BD269438}" sibTransId="{F9841242-B0C7-42AF-BD02-8A3D76D6FF0D}"/>
    <dgm:cxn modelId="{687C80FF-9839-4450-9C07-ED1A7D4A72DF}" srcId="{50DA0374-551B-4728-AD3F-E522DAAEAFDE}" destId="{2DE6A927-8605-484D-A32B-872F90985CC7}" srcOrd="1" destOrd="0" parTransId="{C63885C6-4310-44C2-89A5-6015315196EC}" sibTransId="{C83F7537-CBFD-47C4-9347-EC78B2A2EFA9}"/>
    <dgm:cxn modelId="{32F089B6-183E-4CF2-B96C-D07645A53B6D}" type="presParOf" srcId="{C3E399D4-1150-4B8F-819E-D89BC6FB5C35}" destId="{F968AD80-41B5-430E-9DD6-396E38746D20}" srcOrd="0" destOrd="0" presId="urn:microsoft.com/office/officeart/2005/8/layout/vList2"/>
    <dgm:cxn modelId="{04A88CBA-7596-4117-98D1-B05AEC589D9F}" type="presParOf" srcId="{C3E399D4-1150-4B8F-819E-D89BC6FB5C35}" destId="{2910C1A8-B5D6-43B0-A9CC-F9A652EFC570}" srcOrd="1" destOrd="0" presId="urn:microsoft.com/office/officeart/2005/8/layout/vList2"/>
    <dgm:cxn modelId="{EACCC59A-FD48-47BB-8D1A-2B709571A9C0}" type="presParOf" srcId="{C3E399D4-1150-4B8F-819E-D89BC6FB5C35}" destId="{075BF9B2-84C8-481C-8EF3-218B1B3D6A42}" srcOrd="2" destOrd="0" presId="urn:microsoft.com/office/officeart/2005/8/layout/vList2"/>
    <dgm:cxn modelId="{71C7E5A7-83E4-4498-9D68-6CFA6D3A54D4}" type="presParOf" srcId="{C3E399D4-1150-4B8F-819E-D89BC6FB5C35}" destId="{D0398CF2-E967-4728-98AC-B5DEDEDACA2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ED9B4B86-EC85-4AD0-9171-BDA0D3616BEC}"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1C3D1124-9D23-4E46-B9DD-1AE4325E46AB}">
      <dgm:prSet custT="1"/>
      <dgm:spPr/>
      <dgm:t>
        <a:bodyPr/>
        <a:lstStyle/>
        <a:p>
          <a:r>
            <a:rPr lang="en-IN" sz="1800" dirty="0"/>
            <a:t>Where can one obtain the SharePoint Online Management Shell?</a:t>
          </a:r>
          <a:endParaRPr lang="nb-NO" sz="1800" dirty="0"/>
        </a:p>
      </dgm:t>
    </dgm:pt>
    <dgm:pt modelId="{0DDD5FFB-0583-48FD-B2CD-6011651E6C26}" type="parTrans" cxnId="{CD0852A7-09DF-4A18-83B7-65CA27098DAF}">
      <dgm:prSet/>
      <dgm:spPr/>
      <dgm:t>
        <a:bodyPr/>
        <a:lstStyle/>
        <a:p>
          <a:endParaRPr lang="en-US" sz="1800"/>
        </a:p>
      </dgm:t>
    </dgm:pt>
    <dgm:pt modelId="{640B5F77-E248-478B-80A3-73B4C0C49AA7}" type="sibTrans" cxnId="{CD0852A7-09DF-4A18-83B7-65CA27098DAF}">
      <dgm:prSet/>
      <dgm:spPr/>
      <dgm:t>
        <a:bodyPr/>
        <a:lstStyle/>
        <a:p>
          <a:endParaRPr lang="en-US" sz="1800"/>
        </a:p>
      </dgm:t>
    </dgm:pt>
    <dgm:pt modelId="{C33FFEFF-E1EB-43D7-B068-D775250B7ABF}">
      <dgm:prSet custT="1"/>
      <dgm:spPr/>
      <dgm:t>
        <a:bodyPr/>
        <a:lstStyle/>
        <a:p>
          <a:r>
            <a:rPr lang="en-IN" sz="1800" dirty="0"/>
            <a:t>What SharePoint Online Management Shell cmdlet must you run before any other SharePoint Online cmdlets?</a:t>
          </a:r>
          <a:endParaRPr lang="nb-NO" sz="1800" dirty="0"/>
        </a:p>
      </dgm:t>
    </dgm:pt>
    <dgm:pt modelId="{96BCFB3D-C4E3-4CB4-A3CE-74605F4475C8}" type="parTrans" cxnId="{101B3D91-FA61-4E5F-A82B-3109B2286B1F}">
      <dgm:prSet/>
      <dgm:spPr/>
      <dgm:t>
        <a:bodyPr/>
        <a:lstStyle/>
        <a:p>
          <a:endParaRPr lang="en-US" sz="1800"/>
        </a:p>
      </dgm:t>
    </dgm:pt>
    <dgm:pt modelId="{B54A650D-E66A-47DF-94B2-E302C1F5FE07}" type="sibTrans" cxnId="{101B3D91-FA61-4E5F-A82B-3109B2286B1F}">
      <dgm:prSet/>
      <dgm:spPr/>
      <dgm:t>
        <a:bodyPr/>
        <a:lstStyle/>
        <a:p>
          <a:endParaRPr lang="en-US" sz="1800"/>
        </a:p>
      </dgm:t>
    </dgm:pt>
    <dgm:pt modelId="{17681089-F8E8-4D53-B83C-08FF3B27ED0A}">
      <dgm:prSet custT="1"/>
      <dgm:spPr/>
      <dgm:t>
        <a:bodyPr/>
        <a:lstStyle/>
        <a:p>
          <a:r>
            <a:rPr lang="en-IN" sz="1800" dirty="0"/>
            <a:t>What SharePoint Online Management Shell cmdlet would you run if you want to </a:t>
          </a:r>
          <a:r>
            <a:rPr lang="en-US" sz="1800" dirty="0"/>
            <a:t>define a list of email domains that are allowed for sharing with the external collaborators</a:t>
          </a:r>
          <a:endParaRPr lang="nb-NO" sz="1800" dirty="0"/>
        </a:p>
      </dgm:t>
    </dgm:pt>
    <dgm:pt modelId="{7AA0775A-681C-43A6-BE6A-26DFBD4609E2}" type="parTrans" cxnId="{90C0BD74-A6D6-4A96-9644-CCCD4AF2C79B}">
      <dgm:prSet/>
      <dgm:spPr/>
      <dgm:t>
        <a:bodyPr/>
        <a:lstStyle/>
        <a:p>
          <a:endParaRPr lang="en-US" sz="1800"/>
        </a:p>
      </dgm:t>
    </dgm:pt>
    <dgm:pt modelId="{F27C9347-A9CA-426E-B0D9-CA4255DEB0B7}" type="sibTrans" cxnId="{90C0BD74-A6D6-4A96-9644-CCCD4AF2C79B}">
      <dgm:prSet/>
      <dgm:spPr/>
      <dgm:t>
        <a:bodyPr/>
        <a:lstStyle/>
        <a:p>
          <a:endParaRPr lang="en-US" sz="1800"/>
        </a:p>
      </dgm:t>
    </dgm:pt>
    <dgm:pt modelId="{CA65B4C8-7D3C-45EC-A97E-FFDE765AAC7F}">
      <dgm:prSet custT="1"/>
      <dgm:spPr/>
      <dgm:t>
        <a:bodyPr/>
        <a:lstStyle/>
        <a:p>
          <a:r>
            <a:rPr lang="en-US" sz="1800" dirty="0"/>
            <a:t>Microsoft.com download</a:t>
          </a:r>
          <a:endParaRPr lang="nb-NO" sz="1800" dirty="0"/>
        </a:p>
      </dgm:t>
    </dgm:pt>
    <dgm:pt modelId="{8B172E37-392F-4532-B699-93581539CACA}" type="parTrans" cxnId="{985E5D88-6AA7-4ED3-B2B4-26705FFFA913}">
      <dgm:prSet/>
      <dgm:spPr/>
      <dgm:t>
        <a:bodyPr/>
        <a:lstStyle/>
        <a:p>
          <a:endParaRPr lang="en-US" sz="1800"/>
        </a:p>
      </dgm:t>
    </dgm:pt>
    <dgm:pt modelId="{48B50CA0-EB06-403E-BE03-4DDD8D011ED2}" type="sibTrans" cxnId="{985E5D88-6AA7-4ED3-B2B4-26705FFFA913}">
      <dgm:prSet/>
      <dgm:spPr/>
      <dgm:t>
        <a:bodyPr/>
        <a:lstStyle/>
        <a:p>
          <a:endParaRPr lang="en-US" sz="1800"/>
        </a:p>
      </dgm:t>
    </dgm:pt>
    <dgm:pt modelId="{11C3154F-1975-45FC-A85C-3230D334884C}">
      <dgm:prSet custT="1"/>
      <dgm:spPr/>
      <dgm:t>
        <a:bodyPr/>
        <a:lstStyle/>
        <a:p>
          <a:r>
            <a:rPr lang="en-US" sz="1800" dirty="0"/>
            <a:t>Connect-</a:t>
          </a:r>
          <a:r>
            <a:rPr lang="en-US" sz="1800" dirty="0" err="1"/>
            <a:t>SPOService</a:t>
          </a:r>
          <a:endParaRPr lang="nb-NO" sz="1800" dirty="0"/>
        </a:p>
      </dgm:t>
    </dgm:pt>
    <dgm:pt modelId="{C9465640-BDF3-43AA-BC46-9FDA9E00C6C7}" type="parTrans" cxnId="{2CCBB37E-3DF2-4EA7-B7D4-9B2FA5ED6E42}">
      <dgm:prSet/>
      <dgm:spPr/>
      <dgm:t>
        <a:bodyPr/>
        <a:lstStyle/>
        <a:p>
          <a:endParaRPr lang="en-US" sz="1800"/>
        </a:p>
      </dgm:t>
    </dgm:pt>
    <dgm:pt modelId="{DD6FF489-8CFB-4EEC-A2C1-33E66753E93F}" type="sibTrans" cxnId="{2CCBB37E-3DF2-4EA7-B7D4-9B2FA5ED6E42}">
      <dgm:prSet/>
      <dgm:spPr/>
      <dgm:t>
        <a:bodyPr/>
        <a:lstStyle/>
        <a:p>
          <a:endParaRPr lang="en-US" sz="1800"/>
        </a:p>
      </dgm:t>
    </dgm:pt>
    <dgm:pt modelId="{1D2B218E-0E66-4267-AC72-8E00F2585AF7}">
      <dgm:prSet custT="1"/>
      <dgm:spPr/>
      <dgm:t>
        <a:bodyPr/>
        <a:lstStyle/>
        <a:p>
          <a:r>
            <a:rPr lang="en-US" sz="1800" dirty="0"/>
            <a:t>Set-</a:t>
          </a:r>
          <a:r>
            <a:rPr lang="en-US" sz="1800" dirty="0" err="1"/>
            <a:t>SPOTenant</a:t>
          </a:r>
          <a:r>
            <a:rPr lang="en-US" sz="1800" dirty="0"/>
            <a:t> -</a:t>
          </a:r>
          <a:r>
            <a:rPr lang="en-US" sz="1800" dirty="0" err="1"/>
            <a:t>SharingAllowedDomainList</a:t>
          </a:r>
          <a:br>
            <a:rPr lang="en-US" sz="1800" dirty="0"/>
          </a:br>
          <a:endParaRPr lang="nb-NO" sz="1800" dirty="0"/>
        </a:p>
      </dgm:t>
    </dgm:pt>
    <dgm:pt modelId="{DA028EC0-4FCC-454D-A024-42B0D80CE9F2}" type="parTrans" cxnId="{70A11894-C655-4053-BB9E-1C2B64AF44D2}">
      <dgm:prSet/>
      <dgm:spPr/>
      <dgm:t>
        <a:bodyPr/>
        <a:lstStyle/>
        <a:p>
          <a:endParaRPr lang="en-US" sz="1800"/>
        </a:p>
      </dgm:t>
    </dgm:pt>
    <dgm:pt modelId="{49251ED7-D66E-400F-B9CC-6F275DF74197}" type="sibTrans" cxnId="{70A11894-C655-4053-BB9E-1C2B64AF44D2}">
      <dgm:prSet/>
      <dgm:spPr/>
      <dgm:t>
        <a:bodyPr/>
        <a:lstStyle/>
        <a:p>
          <a:endParaRPr lang="en-US" sz="1800"/>
        </a:p>
      </dgm:t>
    </dgm:pt>
    <dgm:pt modelId="{10BCD89A-D375-4630-A158-0824C5CFB00C}">
      <dgm:prSet phldrT="[Text]" custT="1"/>
      <dgm:spPr/>
      <dgm:t>
        <a:bodyPr/>
        <a:lstStyle/>
        <a:p>
          <a:r>
            <a:rPr lang="nb-NO" sz="1800" dirty="0"/>
            <a:t>Can also be installed via Install Module command in PowerShell session</a:t>
          </a:r>
        </a:p>
      </dgm:t>
    </dgm:pt>
    <dgm:pt modelId="{CC826169-DF36-4E18-936B-90942351D3CA}" type="parTrans" cxnId="{B610CE68-6A02-4C5B-9586-29D1F108F0E9}">
      <dgm:prSet/>
      <dgm:spPr/>
      <dgm:t>
        <a:bodyPr/>
        <a:lstStyle/>
        <a:p>
          <a:endParaRPr lang="en-US" sz="1800"/>
        </a:p>
      </dgm:t>
    </dgm:pt>
    <dgm:pt modelId="{C1DFB3DA-7CD0-4F0B-94E0-BFB174F39BA0}" type="sibTrans" cxnId="{B610CE68-6A02-4C5B-9586-29D1F108F0E9}">
      <dgm:prSet/>
      <dgm:spPr/>
      <dgm:t>
        <a:bodyPr/>
        <a:lstStyle/>
        <a:p>
          <a:endParaRPr lang="en-US" sz="1800"/>
        </a:p>
      </dgm:t>
    </dgm:pt>
    <dgm:pt modelId="{940E26F9-D774-4C4F-9765-A5EE58BB3FBF}" type="pres">
      <dgm:prSet presAssocID="{ED9B4B86-EC85-4AD0-9171-BDA0D3616BEC}" presName="linear" presStyleCnt="0">
        <dgm:presLayoutVars>
          <dgm:dir/>
          <dgm:animLvl val="lvl"/>
          <dgm:resizeHandles val="exact"/>
        </dgm:presLayoutVars>
      </dgm:prSet>
      <dgm:spPr/>
    </dgm:pt>
    <dgm:pt modelId="{B808208A-D2A1-4F56-8BD3-99E43FB969CD}" type="pres">
      <dgm:prSet presAssocID="{1C3D1124-9D23-4E46-B9DD-1AE4325E46AB}" presName="parentLin" presStyleCnt="0"/>
      <dgm:spPr/>
    </dgm:pt>
    <dgm:pt modelId="{F02A21D5-111D-4B1B-9AFA-6BAC8967B287}" type="pres">
      <dgm:prSet presAssocID="{1C3D1124-9D23-4E46-B9DD-1AE4325E46AB}" presName="parentLeftMargin" presStyleLbl="node1" presStyleIdx="0" presStyleCnt="3"/>
      <dgm:spPr/>
    </dgm:pt>
    <dgm:pt modelId="{E19422D8-0888-4B03-B8D7-F1FA78FBC98B}" type="pres">
      <dgm:prSet presAssocID="{1C3D1124-9D23-4E46-B9DD-1AE4325E46AB}" presName="parentText" presStyleLbl="node1" presStyleIdx="0" presStyleCnt="3">
        <dgm:presLayoutVars>
          <dgm:chMax val="0"/>
          <dgm:bulletEnabled val="1"/>
        </dgm:presLayoutVars>
      </dgm:prSet>
      <dgm:spPr/>
    </dgm:pt>
    <dgm:pt modelId="{202D0FF6-C1BC-46D0-8900-28716753971E}" type="pres">
      <dgm:prSet presAssocID="{1C3D1124-9D23-4E46-B9DD-1AE4325E46AB}" presName="negativeSpace" presStyleCnt="0"/>
      <dgm:spPr/>
    </dgm:pt>
    <dgm:pt modelId="{535D1F27-B19D-41D2-9565-555BD5026A07}" type="pres">
      <dgm:prSet presAssocID="{1C3D1124-9D23-4E46-B9DD-1AE4325E46AB}" presName="childText" presStyleLbl="conFgAcc1" presStyleIdx="0" presStyleCnt="3">
        <dgm:presLayoutVars>
          <dgm:bulletEnabled val="1"/>
        </dgm:presLayoutVars>
      </dgm:prSet>
      <dgm:spPr/>
    </dgm:pt>
    <dgm:pt modelId="{CC006BE5-5232-40E0-AC4C-FD9FCD9DAC51}" type="pres">
      <dgm:prSet presAssocID="{640B5F77-E248-478B-80A3-73B4C0C49AA7}" presName="spaceBetweenRectangles" presStyleCnt="0"/>
      <dgm:spPr/>
    </dgm:pt>
    <dgm:pt modelId="{79ADFB9C-7FD4-4C9B-9595-EE3739302DFD}" type="pres">
      <dgm:prSet presAssocID="{C33FFEFF-E1EB-43D7-B068-D775250B7ABF}" presName="parentLin" presStyleCnt="0"/>
      <dgm:spPr/>
    </dgm:pt>
    <dgm:pt modelId="{2036E6DA-9A80-42FF-9E55-9EEAD1C03CEB}" type="pres">
      <dgm:prSet presAssocID="{C33FFEFF-E1EB-43D7-B068-D775250B7ABF}" presName="parentLeftMargin" presStyleLbl="node1" presStyleIdx="0" presStyleCnt="3"/>
      <dgm:spPr/>
    </dgm:pt>
    <dgm:pt modelId="{146D1F55-B418-43AF-A991-B9FC09BE5471}" type="pres">
      <dgm:prSet presAssocID="{C33FFEFF-E1EB-43D7-B068-D775250B7ABF}" presName="parentText" presStyleLbl="node1" presStyleIdx="1" presStyleCnt="3">
        <dgm:presLayoutVars>
          <dgm:chMax val="0"/>
          <dgm:bulletEnabled val="1"/>
        </dgm:presLayoutVars>
      </dgm:prSet>
      <dgm:spPr/>
    </dgm:pt>
    <dgm:pt modelId="{73B72688-0B3D-448D-88FD-C15D12FC5086}" type="pres">
      <dgm:prSet presAssocID="{C33FFEFF-E1EB-43D7-B068-D775250B7ABF}" presName="negativeSpace" presStyleCnt="0"/>
      <dgm:spPr/>
    </dgm:pt>
    <dgm:pt modelId="{EDDDC83A-3FD6-4F45-A949-7AF96F3472CC}" type="pres">
      <dgm:prSet presAssocID="{C33FFEFF-E1EB-43D7-B068-D775250B7ABF}" presName="childText" presStyleLbl="conFgAcc1" presStyleIdx="1" presStyleCnt="3">
        <dgm:presLayoutVars>
          <dgm:bulletEnabled val="1"/>
        </dgm:presLayoutVars>
      </dgm:prSet>
      <dgm:spPr/>
    </dgm:pt>
    <dgm:pt modelId="{050FA5C0-D472-42DB-B197-36F5178360F2}" type="pres">
      <dgm:prSet presAssocID="{B54A650D-E66A-47DF-94B2-E302C1F5FE07}" presName="spaceBetweenRectangles" presStyleCnt="0"/>
      <dgm:spPr/>
    </dgm:pt>
    <dgm:pt modelId="{162B1C29-340B-48E6-82D0-0FEDBB1151EE}" type="pres">
      <dgm:prSet presAssocID="{17681089-F8E8-4D53-B83C-08FF3B27ED0A}" presName="parentLin" presStyleCnt="0"/>
      <dgm:spPr/>
    </dgm:pt>
    <dgm:pt modelId="{3175BD6F-D309-4C22-8F90-088396A2208E}" type="pres">
      <dgm:prSet presAssocID="{17681089-F8E8-4D53-B83C-08FF3B27ED0A}" presName="parentLeftMargin" presStyleLbl="node1" presStyleIdx="1" presStyleCnt="3"/>
      <dgm:spPr/>
    </dgm:pt>
    <dgm:pt modelId="{335E8F22-1029-4978-8079-FE218E8985CC}" type="pres">
      <dgm:prSet presAssocID="{17681089-F8E8-4D53-B83C-08FF3B27ED0A}" presName="parentText" presStyleLbl="node1" presStyleIdx="2" presStyleCnt="3">
        <dgm:presLayoutVars>
          <dgm:chMax val="0"/>
          <dgm:bulletEnabled val="1"/>
        </dgm:presLayoutVars>
      </dgm:prSet>
      <dgm:spPr/>
    </dgm:pt>
    <dgm:pt modelId="{A95DFF6D-D1A9-4F03-A6A1-17040B9A3209}" type="pres">
      <dgm:prSet presAssocID="{17681089-F8E8-4D53-B83C-08FF3B27ED0A}" presName="negativeSpace" presStyleCnt="0"/>
      <dgm:spPr/>
    </dgm:pt>
    <dgm:pt modelId="{5A82716C-64EF-4BC2-AD61-8232B340EF2A}" type="pres">
      <dgm:prSet presAssocID="{17681089-F8E8-4D53-B83C-08FF3B27ED0A}" presName="childText" presStyleLbl="conFgAcc1" presStyleIdx="2" presStyleCnt="3">
        <dgm:presLayoutVars>
          <dgm:bulletEnabled val="1"/>
        </dgm:presLayoutVars>
      </dgm:prSet>
      <dgm:spPr/>
    </dgm:pt>
  </dgm:ptLst>
  <dgm:cxnLst>
    <dgm:cxn modelId="{1445AE20-7DF7-426C-8F94-92C4B8E0DEC3}" type="presOf" srcId="{17681089-F8E8-4D53-B83C-08FF3B27ED0A}" destId="{335E8F22-1029-4978-8079-FE218E8985CC}" srcOrd="1" destOrd="0" presId="urn:microsoft.com/office/officeart/2005/8/layout/list1"/>
    <dgm:cxn modelId="{5B0B4E30-F71E-4E72-AEBF-D40CF2B59A9B}" type="presOf" srcId="{ED9B4B86-EC85-4AD0-9171-BDA0D3616BEC}" destId="{940E26F9-D774-4C4F-9765-A5EE58BB3FBF}" srcOrd="0" destOrd="0" presId="urn:microsoft.com/office/officeart/2005/8/layout/list1"/>
    <dgm:cxn modelId="{38E8C346-E367-463D-9D56-9F7256A196F2}" type="presOf" srcId="{11C3154F-1975-45FC-A85C-3230D334884C}" destId="{EDDDC83A-3FD6-4F45-A949-7AF96F3472CC}" srcOrd="0" destOrd="0" presId="urn:microsoft.com/office/officeart/2005/8/layout/list1"/>
    <dgm:cxn modelId="{B610CE68-6A02-4C5B-9586-29D1F108F0E9}" srcId="{1C3D1124-9D23-4E46-B9DD-1AE4325E46AB}" destId="{10BCD89A-D375-4630-A158-0824C5CFB00C}" srcOrd="1" destOrd="0" parTransId="{CC826169-DF36-4E18-936B-90942351D3CA}" sibTransId="{C1DFB3DA-7CD0-4F0B-94E0-BFB174F39BA0}"/>
    <dgm:cxn modelId="{108FD768-10B9-4FAB-AAC5-410DF624EEC1}" type="presOf" srcId="{CA65B4C8-7D3C-45EC-A97E-FFDE765AAC7F}" destId="{535D1F27-B19D-41D2-9565-555BD5026A07}" srcOrd="0" destOrd="0" presId="urn:microsoft.com/office/officeart/2005/8/layout/list1"/>
    <dgm:cxn modelId="{90C0BD74-A6D6-4A96-9644-CCCD4AF2C79B}" srcId="{ED9B4B86-EC85-4AD0-9171-BDA0D3616BEC}" destId="{17681089-F8E8-4D53-B83C-08FF3B27ED0A}" srcOrd="2" destOrd="0" parTransId="{7AA0775A-681C-43A6-BE6A-26DFBD4609E2}" sibTransId="{F27C9347-A9CA-426E-B0D9-CA4255DEB0B7}"/>
    <dgm:cxn modelId="{32ACCB58-BA2F-49ED-B645-54C805004B11}" type="presOf" srcId="{10BCD89A-D375-4630-A158-0824C5CFB00C}" destId="{535D1F27-B19D-41D2-9565-555BD5026A07}" srcOrd="0" destOrd="1" presId="urn:microsoft.com/office/officeart/2005/8/layout/list1"/>
    <dgm:cxn modelId="{2CCBB37E-3DF2-4EA7-B7D4-9B2FA5ED6E42}" srcId="{C33FFEFF-E1EB-43D7-B068-D775250B7ABF}" destId="{11C3154F-1975-45FC-A85C-3230D334884C}" srcOrd="0" destOrd="0" parTransId="{C9465640-BDF3-43AA-BC46-9FDA9E00C6C7}" sibTransId="{DD6FF489-8CFB-4EEC-A2C1-33E66753E93F}"/>
    <dgm:cxn modelId="{985E5D88-6AA7-4ED3-B2B4-26705FFFA913}" srcId="{1C3D1124-9D23-4E46-B9DD-1AE4325E46AB}" destId="{CA65B4C8-7D3C-45EC-A97E-FFDE765AAC7F}" srcOrd="0" destOrd="0" parTransId="{8B172E37-392F-4532-B699-93581539CACA}" sibTransId="{48B50CA0-EB06-403E-BE03-4DDD8D011ED2}"/>
    <dgm:cxn modelId="{101B3D91-FA61-4E5F-A82B-3109B2286B1F}" srcId="{ED9B4B86-EC85-4AD0-9171-BDA0D3616BEC}" destId="{C33FFEFF-E1EB-43D7-B068-D775250B7ABF}" srcOrd="1" destOrd="0" parTransId="{96BCFB3D-C4E3-4CB4-A3CE-74605F4475C8}" sibTransId="{B54A650D-E66A-47DF-94B2-E302C1F5FE07}"/>
    <dgm:cxn modelId="{61454191-A5E1-4EDC-A492-2A598ACB98EF}" type="presOf" srcId="{C33FFEFF-E1EB-43D7-B068-D775250B7ABF}" destId="{146D1F55-B418-43AF-A991-B9FC09BE5471}" srcOrd="1" destOrd="0" presId="urn:microsoft.com/office/officeart/2005/8/layout/list1"/>
    <dgm:cxn modelId="{70A11894-C655-4053-BB9E-1C2B64AF44D2}" srcId="{17681089-F8E8-4D53-B83C-08FF3B27ED0A}" destId="{1D2B218E-0E66-4267-AC72-8E00F2585AF7}" srcOrd="0" destOrd="0" parTransId="{DA028EC0-4FCC-454D-A024-42B0D80CE9F2}" sibTransId="{49251ED7-D66E-400F-B9CC-6F275DF74197}"/>
    <dgm:cxn modelId="{CD0852A7-09DF-4A18-83B7-65CA27098DAF}" srcId="{ED9B4B86-EC85-4AD0-9171-BDA0D3616BEC}" destId="{1C3D1124-9D23-4E46-B9DD-1AE4325E46AB}" srcOrd="0" destOrd="0" parTransId="{0DDD5FFB-0583-48FD-B2CD-6011651E6C26}" sibTransId="{640B5F77-E248-478B-80A3-73B4C0C49AA7}"/>
    <dgm:cxn modelId="{2F9604CB-B5F1-4003-B424-F5CF9234EE53}" type="presOf" srcId="{17681089-F8E8-4D53-B83C-08FF3B27ED0A}" destId="{3175BD6F-D309-4C22-8F90-088396A2208E}" srcOrd="0" destOrd="0" presId="urn:microsoft.com/office/officeart/2005/8/layout/list1"/>
    <dgm:cxn modelId="{2F26F0D2-910F-41EE-8968-D3F4EF6D5BA1}" type="presOf" srcId="{C33FFEFF-E1EB-43D7-B068-D775250B7ABF}" destId="{2036E6DA-9A80-42FF-9E55-9EEAD1C03CEB}" srcOrd="0" destOrd="0" presId="urn:microsoft.com/office/officeart/2005/8/layout/list1"/>
    <dgm:cxn modelId="{FB1BBED7-37C4-4D63-8D18-25E249EB3178}" type="presOf" srcId="{1C3D1124-9D23-4E46-B9DD-1AE4325E46AB}" destId="{E19422D8-0888-4B03-B8D7-F1FA78FBC98B}" srcOrd="1" destOrd="0" presId="urn:microsoft.com/office/officeart/2005/8/layout/list1"/>
    <dgm:cxn modelId="{CF93ABF0-233A-4710-9785-CA4E99E751BA}" type="presOf" srcId="{1D2B218E-0E66-4267-AC72-8E00F2585AF7}" destId="{5A82716C-64EF-4BC2-AD61-8232B340EF2A}" srcOrd="0" destOrd="0" presId="urn:microsoft.com/office/officeart/2005/8/layout/list1"/>
    <dgm:cxn modelId="{53212DF9-1984-4778-9F67-B28B97CAE03F}" type="presOf" srcId="{1C3D1124-9D23-4E46-B9DD-1AE4325E46AB}" destId="{F02A21D5-111D-4B1B-9AFA-6BAC8967B287}" srcOrd="0" destOrd="0" presId="urn:microsoft.com/office/officeart/2005/8/layout/list1"/>
    <dgm:cxn modelId="{AC8F1F5B-EBB4-4D32-9AC8-AF13E8E6D462}" type="presParOf" srcId="{940E26F9-D774-4C4F-9765-A5EE58BB3FBF}" destId="{B808208A-D2A1-4F56-8BD3-99E43FB969CD}" srcOrd="0" destOrd="0" presId="urn:microsoft.com/office/officeart/2005/8/layout/list1"/>
    <dgm:cxn modelId="{877F126D-EC7F-4296-92B6-2532B850968B}" type="presParOf" srcId="{B808208A-D2A1-4F56-8BD3-99E43FB969CD}" destId="{F02A21D5-111D-4B1B-9AFA-6BAC8967B287}" srcOrd="0" destOrd="0" presId="urn:microsoft.com/office/officeart/2005/8/layout/list1"/>
    <dgm:cxn modelId="{C4B6FBAC-19FF-4979-881E-DCFE8E0B7199}" type="presParOf" srcId="{B808208A-D2A1-4F56-8BD3-99E43FB969CD}" destId="{E19422D8-0888-4B03-B8D7-F1FA78FBC98B}" srcOrd="1" destOrd="0" presId="urn:microsoft.com/office/officeart/2005/8/layout/list1"/>
    <dgm:cxn modelId="{6360CC75-A652-471D-AFCE-BD17A5764734}" type="presParOf" srcId="{940E26F9-D774-4C4F-9765-A5EE58BB3FBF}" destId="{202D0FF6-C1BC-46D0-8900-28716753971E}" srcOrd="1" destOrd="0" presId="urn:microsoft.com/office/officeart/2005/8/layout/list1"/>
    <dgm:cxn modelId="{E2F66946-B749-48D7-9895-5A3583728F08}" type="presParOf" srcId="{940E26F9-D774-4C4F-9765-A5EE58BB3FBF}" destId="{535D1F27-B19D-41D2-9565-555BD5026A07}" srcOrd="2" destOrd="0" presId="urn:microsoft.com/office/officeart/2005/8/layout/list1"/>
    <dgm:cxn modelId="{8C9E01D9-450B-4027-8F6C-932CFB6B7883}" type="presParOf" srcId="{940E26F9-D774-4C4F-9765-A5EE58BB3FBF}" destId="{CC006BE5-5232-40E0-AC4C-FD9FCD9DAC51}" srcOrd="3" destOrd="0" presId="urn:microsoft.com/office/officeart/2005/8/layout/list1"/>
    <dgm:cxn modelId="{3B8461D5-0F6F-4778-8D15-3A452679D425}" type="presParOf" srcId="{940E26F9-D774-4C4F-9765-A5EE58BB3FBF}" destId="{79ADFB9C-7FD4-4C9B-9595-EE3739302DFD}" srcOrd="4" destOrd="0" presId="urn:microsoft.com/office/officeart/2005/8/layout/list1"/>
    <dgm:cxn modelId="{8F0F7559-74C2-4898-92C6-901957BB0456}" type="presParOf" srcId="{79ADFB9C-7FD4-4C9B-9595-EE3739302DFD}" destId="{2036E6DA-9A80-42FF-9E55-9EEAD1C03CEB}" srcOrd="0" destOrd="0" presId="urn:microsoft.com/office/officeart/2005/8/layout/list1"/>
    <dgm:cxn modelId="{151D2663-A71C-4B94-BD59-7F6B23245213}" type="presParOf" srcId="{79ADFB9C-7FD4-4C9B-9595-EE3739302DFD}" destId="{146D1F55-B418-43AF-A991-B9FC09BE5471}" srcOrd="1" destOrd="0" presId="urn:microsoft.com/office/officeart/2005/8/layout/list1"/>
    <dgm:cxn modelId="{B8F643E9-97A7-4224-A37D-BE0CE8BFC3EE}" type="presParOf" srcId="{940E26F9-D774-4C4F-9765-A5EE58BB3FBF}" destId="{73B72688-0B3D-448D-88FD-C15D12FC5086}" srcOrd="5" destOrd="0" presId="urn:microsoft.com/office/officeart/2005/8/layout/list1"/>
    <dgm:cxn modelId="{3D92F2A0-9AFE-4852-BC98-5ACA86635194}" type="presParOf" srcId="{940E26F9-D774-4C4F-9765-A5EE58BB3FBF}" destId="{EDDDC83A-3FD6-4F45-A949-7AF96F3472CC}" srcOrd="6" destOrd="0" presId="urn:microsoft.com/office/officeart/2005/8/layout/list1"/>
    <dgm:cxn modelId="{76250862-E319-4B72-AE6D-0B13AE8F060A}" type="presParOf" srcId="{940E26F9-D774-4C4F-9765-A5EE58BB3FBF}" destId="{050FA5C0-D472-42DB-B197-36F5178360F2}" srcOrd="7" destOrd="0" presId="urn:microsoft.com/office/officeart/2005/8/layout/list1"/>
    <dgm:cxn modelId="{C6062C68-AF5C-416D-A271-4F21BCA0319E}" type="presParOf" srcId="{940E26F9-D774-4C4F-9765-A5EE58BB3FBF}" destId="{162B1C29-340B-48E6-82D0-0FEDBB1151EE}" srcOrd="8" destOrd="0" presId="urn:microsoft.com/office/officeart/2005/8/layout/list1"/>
    <dgm:cxn modelId="{34809730-5419-4EEE-9AA5-4A1B878C9FF1}" type="presParOf" srcId="{162B1C29-340B-48E6-82D0-0FEDBB1151EE}" destId="{3175BD6F-D309-4C22-8F90-088396A2208E}" srcOrd="0" destOrd="0" presId="urn:microsoft.com/office/officeart/2005/8/layout/list1"/>
    <dgm:cxn modelId="{71BBA129-CC7D-4F14-8B52-01F14F2904A8}" type="presParOf" srcId="{162B1C29-340B-48E6-82D0-0FEDBB1151EE}" destId="{335E8F22-1029-4978-8079-FE218E8985CC}" srcOrd="1" destOrd="0" presId="urn:microsoft.com/office/officeart/2005/8/layout/list1"/>
    <dgm:cxn modelId="{E16D7E84-831E-45E4-AAAF-22AD016707F1}" type="presParOf" srcId="{940E26F9-D774-4C4F-9765-A5EE58BB3FBF}" destId="{A95DFF6D-D1A9-4F03-A6A1-17040B9A3209}" srcOrd="9" destOrd="0" presId="urn:microsoft.com/office/officeart/2005/8/layout/list1"/>
    <dgm:cxn modelId="{6E3DF7F1-56F8-4013-8B5B-8C287E4D750F}" type="presParOf" srcId="{940E26F9-D774-4C4F-9765-A5EE58BB3FBF}" destId="{5A82716C-64EF-4BC2-AD61-8232B340EF2A}"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8359E88-27CE-4987-9408-E65FFD64EA44}"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9490448D-0912-49C3-9C0C-FB407C64B93E}">
      <dgm:prSet/>
      <dgm:spPr/>
      <dgm:t>
        <a:bodyPr/>
        <a:lstStyle/>
        <a:p>
          <a:r>
            <a:rPr lang="en-US"/>
            <a:t>Get-Command –Module </a:t>
          </a:r>
          <a:r>
            <a:rPr lang="en-US" err="1"/>
            <a:t>Microsoft.Online.SharePoint.PowerShell</a:t>
          </a:r>
          <a:endParaRPr lang="nb-NO"/>
        </a:p>
      </dgm:t>
    </dgm:pt>
    <dgm:pt modelId="{20D09F16-8BF7-43FA-A29C-D882335D8A17}" type="parTrans" cxnId="{1438BA5A-11E5-42AB-BC0A-1434586B9CD4}">
      <dgm:prSet/>
      <dgm:spPr/>
      <dgm:t>
        <a:bodyPr/>
        <a:lstStyle/>
        <a:p>
          <a:endParaRPr lang="en-US"/>
        </a:p>
      </dgm:t>
    </dgm:pt>
    <dgm:pt modelId="{9D112D21-BCE0-4165-9C8B-FC7FC36F6732}" type="sibTrans" cxnId="{1438BA5A-11E5-42AB-BC0A-1434586B9CD4}">
      <dgm:prSet/>
      <dgm:spPr/>
      <dgm:t>
        <a:bodyPr/>
        <a:lstStyle/>
        <a:p>
          <a:endParaRPr lang="en-US"/>
        </a:p>
      </dgm:t>
    </dgm:pt>
    <dgm:pt modelId="{D3599579-C4A8-4ECF-B709-4FBD4BEBAD60}" type="pres">
      <dgm:prSet presAssocID="{98359E88-27CE-4987-9408-E65FFD64EA44}" presName="linear" presStyleCnt="0">
        <dgm:presLayoutVars>
          <dgm:animLvl val="lvl"/>
          <dgm:resizeHandles val="exact"/>
        </dgm:presLayoutVars>
      </dgm:prSet>
      <dgm:spPr/>
    </dgm:pt>
    <dgm:pt modelId="{046425F9-12E1-4551-9FCB-7F3D5393AAE9}" type="pres">
      <dgm:prSet presAssocID="{9490448D-0912-49C3-9C0C-FB407C64B93E}" presName="parentText" presStyleLbl="node1" presStyleIdx="0" presStyleCnt="1">
        <dgm:presLayoutVars>
          <dgm:chMax val="0"/>
          <dgm:bulletEnabled val="1"/>
        </dgm:presLayoutVars>
      </dgm:prSet>
      <dgm:spPr/>
    </dgm:pt>
  </dgm:ptLst>
  <dgm:cxnLst>
    <dgm:cxn modelId="{7AD48E50-5DC9-471F-ABD2-D30574D79B19}" type="presOf" srcId="{9490448D-0912-49C3-9C0C-FB407C64B93E}" destId="{046425F9-12E1-4551-9FCB-7F3D5393AAE9}" srcOrd="0" destOrd="0" presId="urn:microsoft.com/office/officeart/2005/8/layout/vList2"/>
    <dgm:cxn modelId="{B0992C59-BCB6-49FC-8646-F6C07F9C5A3F}" type="presOf" srcId="{98359E88-27CE-4987-9408-E65FFD64EA44}" destId="{D3599579-C4A8-4ECF-B709-4FBD4BEBAD60}" srcOrd="0" destOrd="0" presId="urn:microsoft.com/office/officeart/2005/8/layout/vList2"/>
    <dgm:cxn modelId="{1438BA5A-11E5-42AB-BC0A-1434586B9CD4}" srcId="{98359E88-27CE-4987-9408-E65FFD64EA44}" destId="{9490448D-0912-49C3-9C0C-FB407C64B93E}" srcOrd="0" destOrd="0" parTransId="{20D09F16-8BF7-43FA-A29C-D882335D8A17}" sibTransId="{9D112D21-BCE0-4165-9C8B-FC7FC36F6732}"/>
    <dgm:cxn modelId="{923F041F-271D-4627-A57E-B417A5CD5127}" type="presParOf" srcId="{D3599579-C4A8-4ECF-B709-4FBD4BEBAD60}" destId="{046425F9-12E1-4551-9FCB-7F3D5393AAE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89A5D1-128E-4AA9-8D92-3691A85C3E0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1533CA31-C4C3-4381-93E7-1C662B92A8B7}">
      <dgm:prSet/>
      <dgm:spPr/>
      <dgm:t>
        <a:bodyPr/>
        <a:lstStyle/>
        <a:p>
          <a:r>
            <a:rPr lang="en-US" dirty="0"/>
            <a:t>Add-</a:t>
          </a:r>
          <a:r>
            <a:rPr lang="en-US" dirty="0" err="1"/>
            <a:t>SPOUser</a:t>
          </a:r>
          <a:endParaRPr lang="nb-NO" dirty="0"/>
        </a:p>
      </dgm:t>
    </dgm:pt>
    <dgm:pt modelId="{61430B31-822F-40F6-9CAB-46D3E20E0A8A}" type="parTrans" cxnId="{1B190B46-6435-4CDF-8D62-44037EBE1346}">
      <dgm:prSet/>
      <dgm:spPr/>
      <dgm:t>
        <a:bodyPr/>
        <a:lstStyle/>
        <a:p>
          <a:endParaRPr lang="en-US"/>
        </a:p>
      </dgm:t>
    </dgm:pt>
    <dgm:pt modelId="{BC4B6748-D938-4771-83E4-3CB5ED00633E}" type="sibTrans" cxnId="{1B190B46-6435-4CDF-8D62-44037EBE1346}">
      <dgm:prSet/>
      <dgm:spPr/>
      <dgm:t>
        <a:bodyPr/>
        <a:lstStyle/>
        <a:p>
          <a:endParaRPr lang="en-US"/>
        </a:p>
      </dgm:t>
    </dgm:pt>
    <dgm:pt modelId="{BD9EA1F7-623C-419D-A22F-FD0ECEDA34A2}">
      <dgm:prSet/>
      <dgm:spPr/>
      <dgm:t>
        <a:bodyPr/>
        <a:lstStyle/>
        <a:p>
          <a:r>
            <a:rPr lang="en-US" dirty="0"/>
            <a:t>Add-</a:t>
          </a:r>
          <a:r>
            <a:rPr lang="en-US" dirty="0" err="1"/>
            <a:t>SPOUser</a:t>
          </a:r>
          <a:r>
            <a:rPr lang="en-US" dirty="0"/>
            <a:t> -Site https://contoso.sharepoint.com/sites/marketing -</a:t>
          </a:r>
          <a:r>
            <a:rPr lang="en-US" dirty="0" err="1"/>
            <a:t>LoginName</a:t>
          </a:r>
          <a:r>
            <a:rPr lang="en-US" dirty="0"/>
            <a:t> joe.healy@contoso.com -Group "SC1 Owners" </a:t>
          </a:r>
          <a:endParaRPr lang="nb-NO" dirty="0"/>
        </a:p>
      </dgm:t>
    </dgm:pt>
    <dgm:pt modelId="{3BC5C54E-3C86-454C-9EAA-7DCE69359E5D}" type="parTrans" cxnId="{7EA1392D-5681-49A9-BD2A-765AA53DA02E}">
      <dgm:prSet/>
      <dgm:spPr/>
      <dgm:t>
        <a:bodyPr/>
        <a:lstStyle/>
        <a:p>
          <a:endParaRPr lang="en-US"/>
        </a:p>
      </dgm:t>
    </dgm:pt>
    <dgm:pt modelId="{3C779E81-FAC0-43B0-B627-3913695037F9}" type="sibTrans" cxnId="{7EA1392D-5681-49A9-BD2A-765AA53DA02E}">
      <dgm:prSet/>
      <dgm:spPr/>
      <dgm:t>
        <a:bodyPr/>
        <a:lstStyle/>
        <a:p>
          <a:endParaRPr lang="en-US"/>
        </a:p>
      </dgm:t>
    </dgm:pt>
    <dgm:pt modelId="{A8497557-DF2F-4836-96EA-12D72E7576F1}">
      <dgm:prSet/>
      <dgm:spPr/>
      <dgm:t>
        <a:bodyPr/>
        <a:lstStyle/>
        <a:p>
          <a:r>
            <a:rPr lang="en-US" dirty="0"/>
            <a:t>Get-</a:t>
          </a:r>
          <a:r>
            <a:rPr lang="en-US" dirty="0" err="1"/>
            <a:t>SPOUser</a:t>
          </a:r>
          <a:endParaRPr lang="nb-NO" dirty="0"/>
        </a:p>
      </dgm:t>
    </dgm:pt>
    <dgm:pt modelId="{4FABBC45-9471-4BCD-98F7-63A959F309A4}" type="parTrans" cxnId="{59679741-E69F-4648-A690-AB4FC589A5BC}">
      <dgm:prSet/>
      <dgm:spPr/>
      <dgm:t>
        <a:bodyPr/>
        <a:lstStyle/>
        <a:p>
          <a:endParaRPr lang="en-US"/>
        </a:p>
      </dgm:t>
    </dgm:pt>
    <dgm:pt modelId="{AE976E5D-A924-4681-8F85-3D33B3557CFC}" type="sibTrans" cxnId="{59679741-E69F-4648-A690-AB4FC589A5BC}">
      <dgm:prSet/>
      <dgm:spPr/>
      <dgm:t>
        <a:bodyPr/>
        <a:lstStyle/>
        <a:p>
          <a:endParaRPr lang="en-US"/>
        </a:p>
      </dgm:t>
    </dgm:pt>
    <dgm:pt modelId="{AB081039-2860-4E7A-ACAC-FB3D3E7E5BC8}">
      <dgm:prSet/>
      <dgm:spPr/>
      <dgm:t>
        <a:bodyPr/>
        <a:lstStyle/>
        <a:p>
          <a:r>
            <a:rPr lang="en-US" dirty="0"/>
            <a:t>Get-</a:t>
          </a:r>
          <a:r>
            <a:rPr lang="en-US" dirty="0" err="1"/>
            <a:t>SPOUser</a:t>
          </a:r>
          <a:r>
            <a:rPr lang="en-US" dirty="0"/>
            <a:t> -Site https://contoso.sharepoint.com/sites/marketing -Group "Team Site Members“</a:t>
          </a:r>
          <a:endParaRPr lang="nb-NO" dirty="0"/>
        </a:p>
      </dgm:t>
    </dgm:pt>
    <dgm:pt modelId="{1D9752CD-40C0-4E72-8223-DFF05AA980CE}" type="parTrans" cxnId="{42B3A1B6-5B32-4F69-AD13-E783FFD864D6}">
      <dgm:prSet/>
      <dgm:spPr/>
      <dgm:t>
        <a:bodyPr/>
        <a:lstStyle/>
        <a:p>
          <a:endParaRPr lang="en-US"/>
        </a:p>
      </dgm:t>
    </dgm:pt>
    <dgm:pt modelId="{ABF5B586-65A1-4EB3-A27F-113BF29E7CFE}" type="sibTrans" cxnId="{42B3A1B6-5B32-4F69-AD13-E783FFD864D6}">
      <dgm:prSet/>
      <dgm:spPr/>
      <dgm:t>
        <a:bodyPr/>
        <a:lstStyle/>
        <a:p>
          <a:endParaRPr lang="en-US"/>
        </a:p>
      </dgm:t>
    </dgm:pt>
    <dgm:pt modelId="{492C5AE9-95C3-456E-911A-320BEC833FD5}">
      <dgm:prSet/>
      <dgm:spPr/>
      <dgm:t>
        <a:bodyPr/>
        <a:lstStyle/>
        <a:p>
          <a:r>
            <a:rPr lang="en-US" dirty="0"/>
            <a:t>Remove-</a:t>
          </a:r>
          <a:r>
            <a:rPr lang="en-US" dirty="0" err="1"/>
            <a:t>SPOUser</a:t>
          </a:r>
          <a:endParaRPr lang="nb-NO" dirty="0"/>
        </a:p>
      </dgm:t>
    </dgm:pt>
    <dgm:pt modelId="{5D5E25BB-19DD-4658-9414-97FB99D53D23}" type="parTrans" cxnId="{7A6FE19D-1741-4E61-B38D-07C00279F51C}">
      <dgm:prSet/>
      <dgm:spPr/>
      <dgm:t>
        <a:bodyPr/>
        <a:lstStyle/>
        <a:p>
          <a:endParaRPr lang="en-US"/>
        </a:p>
      </dgm:t>
    </dgm:pt>
    <dgm:pt modelId="{14ADEE65-2FF5-464F-B90F-C8F883DFCEE2}" type="sibTrans" cxnId="{7A6FE19D-1741-4E61-B38D-07C00279F51C}">
      <dgm:prSet/>
      <dgm:spPr/>
      <dgm:t>
        <a:bodyPr/>
        <a:lstStyle/>
        <a:p>
          <a:endParaRPr lang="en-US"/>
        </a:p>
      </dgm:t>
    </dgm:pt>
    <dgm:pt modelId="{B119633C-2F8F-42A6-A5E2-28564D053D5D}">
      <dgm:prSet/>
      <dgm:spPr/>
      <dgm:t>
        <a:bodyPr/>
        <a:lstStyle/>
        <a:p>
          <a:r>
            <a:rPr lang="en-US" dirty="0"/>
            <a:t>Remove-</a:t>
          </a:r>
          <a:r>
            <a:rPr lang="en-US" dirty="0" err="1"/>
            <a:t>SPOUser</a:t>
          </a:r>
          <a:r>
            <a:rPr lang="en-US" dirty="0"/>
            <a:t> -Site https://contoso.sharepoint.com/sites/marketing -</a:t>
          </a:r>
          <a:r>
            <a:rPr lang="en-US" dirty="0" err="1"/>
            <a:t>LoginName</a:t>
          </a:r>
          <a:r>
            <a:rPr lang="en-US" dirty="0"/>
            <a:t> joe.healy@contoso.com -Group "SC1 Owners”</a:t>
          </a:r>
          <a:endParaRPr lang="nb-NO" dirty="0"/>
        </a:p>
      </dgm:t>
    </dgm:pt>
    <dgm:pt modelId="{E7BFF7B0-46A3-4147-BC92-90D806E8B338}" type="parTrans" cxnId="{84373AC5-D014-4A85-A8BE-2868A718616A}">
      <dgm:prSet/>
      <dgm:spPr/>
      <dgm:t>
        <a:bodyPr/>
        <a:lstStyle/>
        <a:p>
          <a:endParaRPr lang="en-US"/>
        </a:p>
      </dgm:t>
    </dgm:pt>
    <dgm:pt modelId="{09E7D449-5863-4709-BDCE-5AB3A628A668}" type="sibTrans" cxnId="{84373AC5-D014-4A85-A8BE-2868A718616A}">
      <dgm:prSet/>
      <dgm:spPr/>
      <dgm:t>
        <a:bodyPr/>
        <a:lstStyle/>
        <a:p>
          <a:endParaRPr lang="en-US"/>
        </a:p>
      </dgm:t>
    </dgm:pt>
    <dgm:pt modelId="{0F39E448-D434-4BC2-855E-A9DE6708E88B}">
      <dgm:prSet/>
      <dgm:spPr/>
      <dgm:t>
        <a:bodyPr/>
        <a:lstStyle/>
        <a:p>
          <a:r>
            <a:rPr lang="en-US" dirty="0"/>
            <a:t>You must be a SharePoint Online admin.</a:t>
          </a:r>
          <a:endParaRPr lang="nb-NO" dirty="0"/>
        </a:p>
      </dgm:t>
    </dgm:pt>
    <dgm:pt modelId="{4D652513-3BA3-48DF-9FB6-B1C099C27B31}" type="parTrans" cxnId="{548807B1-158E-4C2C-B40E-E21D6B80F5C1}">
      <dgm:prSet/>
      <dgm:spPr/>
      <dgm:t>
        <a:bodyPr/>
        <a:lstStyle/>
        <a:p>
          <a:endParaRPr lang="en-US"/>
        </a:p>
      </dgm:t>
    </dgm:pt>
    <dgm:pt modelId="{584069F5-D018-4AA9-8E7A-57139AABB92F}" type="sibTrans" cxnId="{548807B1-158E-4C2C-B40E-E21D6B80F5C1}">
      <dgm:prSet/>
      <dgm:spPr/>
      <dgm:t>
        <a:bodyPr/>
        <a:lstStyle/>
        <a:p>
          <a:endParaRPr lang="en-US"/>
        </a:p>
      </dgm:t>
    </dgm:pt>
    <dgm:pt modelId="{1FC3B4D8-85D3-4000-87FE-C0FA24AB4549}">
      <dgm:prSet/>
      <dgm:spPr/>
      <dgm:t>
        <a:bodyPr/>
        <a:lstStyle/>
        <a:p>
          <a:r>
            <a:rPr lang="en-US" dirty="0"/>
            <a:t>Set-</a:t>
          </a:r>
          <a:r>
            <a:rPr lang="en-US" dirty="0" err="1"/>
            <a:t>SPOUser</a:t>
          </a:r>
          <a:endParaRPr lang="nb-NO" dirty="0"/>
        </a:p>
      </dgm:t>
    </dgm:pt>
    <dgm:pt modelId="{D8194E2E-028A-4F88-8581-B287474A43E5}" type="parTrans" cxnId="{720A76B9-D9BF-44B6-A0DC-32FB9EF060FE}">
      <dgm:prSet/>
      <dgm:spPr/>
      <dgm:t>
        <a:bodyPr/>
        <a:lstStyle/>
        <a:p>
          <a:endParaRPr lang="en-US"/>
        </a:p>
      </dgm:t>
    </dgm:pt>
    <dgm:pt modelId="{C3306F26-F596-4391-BA4B-E1344570A662}" type="sibTrans" cxnId="{720A76B9-D9BF-44B6-A0DC-32FB9EF060FE}">
      <dgm:prSet/>
      <dgm:spPr/>
      <dgm:t>
        <a:bodyPr/>
        <a:lstStyle/>
        <a:p>
          <a:endParaRPr lang="en-US"/>
        </a:p>
      </dgm:t>
    </dgm:pt>
    <dgm:pt modelId="{6014B797-8B48-444C-AC8D-4D0C76803F8C}">
      <dgm:prSet/>
      <dgm:spPr/>
      <dgm:t>
        <a:bodyPr/>
        <a:lstStyle/>
        <a:p>
          <a:r>
            <a:rPr lang="en-US" dirty="0"/>
            <a:t>Set-</a:t>
          </a:r>
          <a:r>
            <a:rPr lang="en-US" dirty="0" err="1"/>
            <a:t>SPOUser</a:t>
          </a:r>
          <a:r>
            <a:rPr lang="en-US" dirty="0"/>
            <a:t> -Site https://contoso.sharepoint.com/sites/marketing -</a:t>
          </a:r>
          <a:r>
            <a:rPr lang="en-US" dirty="0" err="1"/>
            <a:t>LoginName</a:t>
          </a:r>
          <a:r>
            <a:rPr lang="en-US" dirty="0"/>
            <a:t> melissa.kerr@contoso.com -</a:t>
          </a:r>
          <a:r>
            <a:rPr lang="en-US" dirty="0" err="1"/>
            <a:t>IsSiteCollectionAdmin</a:t>
          </a:r>
          <a:r>
            <a:rPr lang="en-US" dirty="0"/>
            <a:t> $true</a:t>
          </a:r>
        </a:p>
      </dgm:t>
    </dgm:pt>
    <dgm:pt modelId="{9915E52B-83D8-4D68-AD6C-1EB403F8F74B}" type="parTrans" cxnId="{EC43F7EA-B2ED-4600-8505-5F8233637A47}">
      <dgm:prSet/>
      <dgm:spPr/>
      <dgm:t>
        <a:bodyPr/>
        <a:lstStyle/>
        <a:p>
          <a:endParaRPr lang="en-US"/>
        </a:p>
      </dgm:t>
    </dgm:pt>
    <dgm:pt modelId="{BE1F7EE6-7800-4371-B692-97FAC9A174EA}" type="sibTrans" cxnId="{EC43F7EA-B2ED-4600-8505-5F8233637A47}">
      <dgm:prSet/>
      <dgm:spPr/>
      <dgm:t>
        <a:bodyPr/>
        <a:lstStyle/>
        <a:p>
          <a:endParaRPr lang="en-US"/>
        </a:p>
      </dgm:t>
    </dgm:pt>
    <dgm:pt modelId="{215FCBE8-6756-4005-B2F5-694C6E319097}" type="pres">
      <dgm:prSet presAssocID="{CB89A5D1-128E-4AA9-8D92-3691A85C3E02}" presName="linear" presStyleCnt="0">
        <dgm:presLayoutVars>
          <dgm:animLvl val="lvl"/>
          <dgm:resizeHandles val="exact"/>
        </dgm:presLayoutVars>
      </dgm:prSet>
      <dgm:spPr/>
    </dgm:pt>
    <dgm:pt modelId="{211D8D8D-64AB-4EF4-A033-DF1B62C3FA69}" type="pres">
      <dgm:prSet presAssocID="{1533CA31-C4C3-4381-93E7-1C662B92A8B7}" presName="parentText" presStyleLbl="node1" presStyleIdx="0" presStyleCnt="5">
        <dgm:presLayoutVars>
          <dgm:chMax val="0"/>
          <dgm:bulletEnabled val="1"/>
        </dgm:presLayoutVars>
      </dgm:prSet>
      <dgm:spPr/>
    </dgm:pt>
    <dgm:pt modelId="{45AFBD70-A49A-4437-9B50-566A7513C31D}" type="pres">
      <dgm:prSet presAssocID="{1533CA31-C4C3-4381-93E7-1C662B92A8B7}" presName="childText" presStyleLbl="revTx" presStyleIdx="0" presStyleCnt="4">
        <dgm:presLayoutVars>
          <dgm:bulletEnabled val="1"/>
        </dgm:presLayoutVars>
      </dgm:prSet>
      <dgm:spPr/>
    </dgm:pt>
    <dgm:pt modelId="{D8FB4D3C-FA37-42EC-BB69-8A25BC874D6C}" type="pres">
      <dgm:prSet presAssocID="{A8497557-DF2F-4836-96EA-12D72E7576F1}" presName="parentText" presStyleLbl="node1" presStyleIdx="1" presStyleCnt="5">
        <dgm:presLayoutVars>
          <dgm:chMax val="0"/>
          <dgm:bulletEnabled val="1"/>
        </dgm:presLayoutVars>
      </dgm:prSet>
      <dgm:spPr/>
    </dgm:pt>
    <dgm:pt modelId="{194E361B-D9C6-47BD-81D8-4D9E1E610039}" type="pres">
      <dgm:prSet presAssocID="{A8497557-DF2F-4836-96EA-12D72E7576F1}" presName="childText" presStyleLbl="revTx" presStyleIdx="1" presStyleCnt="4">
        <dgm:presLayoutVars>
          <dgm:bulletEnabled val="1"/>
        </dgm:presLayoutVars>
      </dgm:prSet>
      <dgm:spPr/>
    </dgm:pt>
    <dgm:pt modelId="{955E4765-7A0A-4D69-BC15-341BA4E1677E}" type="pres">
      <dgm:prSet presAssocID="{1FC3B4D8-85D3-4000-87FE-C0FA24AB4549}" presName="parentText" presStyleLbl="node1" presStyleIdx="2" presStyleCnt="5">
        <dgm:presLayoutVars>
          <dgm:chMax val="0"/>
          <dgm:bulletEnabled val="1"/>
        </dgm:presLayoutVars>
      </dgm:prSet>
      <dgm:spPr/>
    </dgm:pt>
    <dgm:pt modelId="{417239AC-CA82-4757-92F4-240B446EE8E7}" type="pres">
      <dgm:prSet presAssocID="{1FC3B4D8-85D3-4000-87FE-C0FA24AB4549}" presName="childText" presStyleLbl="revTx" presStyleIdx="2" presStyleCnt="4">
        <dgm:presLayoutVars>
          <dgm:bulletEnabled val="1"/>
        </dgm:presLayoutVars>
      </dgm:prSet>
      <dgm:spPr/>
    </dgm:pt>
    <dgm:pt modelId="{726B4376-B666-45E0-B9DF-AF983DDA1FE0}" type="pres">
      <dgm:prSet presAssocID="{492C5AE9-95C3-456E-911A-320BEC833FD5}" presName="parentText" presStyleLbl="node1" presStyleIdx="3" presStyleCnt="5">
        <dgm:presLayoutVars>
          <dgm:chMax val="0"/>
          <dgm:bulletEnabled val="1"/>
        </dgm:presLayoutVars>
      </dgm:prSet>
      <dgm:spPr/>
    </dgm:pt>
    <dgm:pt modelId="{86DB398D-C7DB-432A-98B9-9977903F9683}" type="pres">
      <dgm:prSet presAssocID="{492C5AE9-95C3-456E-911A-320BEC833FD5}" presName="childText" presStyleLbl="revTx" presStyleIdx="3" presStyleCnt="4">
        <dgm:presLayoutVars>
          <dgm:bulletEnabled val="1"/>
        </dgm:presLayoutVars>
      </dgm:prSet>
      <dgm:spPr/>
    </dgm:pt>
    <dgm:pt modelId="{C737AAFF-6AD3-4EED-BB0D-54595A00E340}" type="pres">
      <dgm:prSet presAssocID="{0F39E448-D434-4BC2-855E-A9DE6708E88B}" presName="parentText" presStyleLbl="node1" presStyleIdx="4" presStyleCnt="5">
        <dgm:presLayoutVars>
          <dgm:chMax val="0"/>
          <dgm:bulletEnabled val="1"/>
        </dgm:presLayoutVars>
      </dgm:prSet>
      <dgm:spPr/>
    </dgm:pt>
  </dgm:ptLst>
  <dgm:cxnLst>
    <dgm:cxn modelId="{550FBF04-E3EE-4D52-9603-F86AE0019BA5}" type="presOf" srcId="{0F39E448-D434-4BC2-855E-A9DE6708E88B}" destId="{C737AAFF-6AD3-4EED-BB0D-54595A00E340}" srcOrd="0" destOrd="0" presId="urn:microsoft.com/office/officeart/2005/8/layout/vList2"/>
    <dgm:cxn modelId="{066ED214-F377-489C-9AA9-5C78342064B1}" type="presOf" srcId="{1533CA31-C4C3-4381-93E7-1C662B92A8B7}" destId="{211D8D8D-64AB-4EF4-A033-DF1B62C3FA69}" srcOrd="0" destOrd="0" presId="urn:microsoft.com/office/officeart/2005/8/layout/vList2"/>
    <dgm:cxn modelId="{2C9D9719-56FF-41AD-9BE8-2F801869BECB}" type="presOf" srcId="{AB081039-2860-4E7A-ACAC-FB3D3E7E5BC8}" destId="{194E361B-D9C6-47BD-81D8-4D9E1E610039}" srcOrd="0" destOrd="0" presId="urn:microsoft.com/office/officeart/2005/8/layout/vList2"/>
    <dgm:cxn modelId="{7EA1392D-5681-49A9-BD2A-765AA53DA02E}" srcId="{1533CA31-C4C3-4381-93E7-1C662B92A8B7}" destId="{BD9EA1F7-623C-419D-A22F-FD0ECEDA34A2}" srcOrd="0" destOrd="0" parTransId="{3BC5C54E-3C86-454C-9EAA-7DCE69359E5D}" sibTransId="{3C779E81-FAC0-43B0-B627-3913695037F9}"/>
    <dgm:cxn modelId="{1230BA2D-4922-437E-9147-D4E64BF8FB09}" type="presOf" srcId="{A8497557-DF2F-4836-96EA-12D72E7576F1}" destId="{D8FB4D3C-FA37-42EC-BB69-8A25BC874D6C}" srcOrd="0" destOrd="0" presId="urn:microsoft.com/office/officeart/2005/8/layout/vList2"/>
    <dgm:cxn modelId="{5040245B-8F05-4014-BBE4-8AB5A9D0DDAC}" type="presOf" srcId="{BD9EA1F7-623C-419D-A22F-FD0ECEDA34A2}" destId="{45AFBD70-A49A-4437-9B50-566A7513C31D}" srcOrd="0" destOrd="0" presId="urn:microsoft.com/office/officeart/2005/8/layout/vList2"/>
    <dgm:cxn modelId="{59679741-E69F-4648-A690-AB4FC589A5BC}" srcId="{CB89A5D1-128E-4AA9-8D92-3691A85C3E02}" destId="{A8497557-DF2F-4836-96EA-12D72E7576F1}" srcOrd="1" destOrd="0" parTransId="{4FABBC45-9471-4BCD-98F7-63A959F309A4}" sibTransId="{AE976E5D-A924-4681-8F85-3D33B3557CFC}"/>
    <dgm:cxn modelId="{1B190B46-6435-4CDF-8D62-44037EBE1346}" srcId="{CB89A5D1-128E-4AA9-8D92-3691A85C3E02}" destId="{1533CA31-C4C3-4381-93E7-1C662B92A8B7}" srcOrd="0" destOrd="0" parTransId="{61430B31-822F-40F6-9CAB-46D3E20E0A8A}" sibTransId="{BC4B6748-D938-4771-83E4-3CB5ED00633E}"/>
    <dgm:cxn modelId="{AA226E73-B4AA-46C4-9E65-D1F9F2AF6E1D}" type="presOf" srcId="{B119633C-2F8F-42A6-A5E2-28564D053D5D}" destId="{86DB398D-C7DB-432A-98B9-9977903F9683}" srcOrd="0" destOrd="0" presId="urn:microsoft.com/office/officeart/2005/8/layout/vList2"/>
    <dgm:cxn modelId="{7A6FE19D-1741-4E61-B38D-07C00279F51C}" srcId="{CB89A5D1-128E-4AA9-8D92-3691A85C3E02}" destId="{492C5AE9-95C3-456E-911A-320BEC833FD5}" srcOrd="3" destOrd="0" parTransId="{5D5E25BB-19DD-4658-9414-97FB99D53D23}" sibTransId="{14ADEE65-2FF5-464F-B90F-C8F883DFCEE2}"/>
    <dgm:cxn modelId="{604E9BAD-3894-44A8-986D-11E8CD63D984}" type="presOf" srcId="{6014B797-8B48-444C-AC8D-4D0C76803F8C}" destId="{417239AC-CA82-4757-92F4-240B446EE8E7}" srcOrd="0" destOrd="0" presId="urn:microsoft.com/office/officeart/2005/8/layout/vList2"/>
    <dgm:cxn modelId="{F16A7BAF-358A-4B80-AF66-707C826B463A}" type="presOf" srcId="{1FC3B4D8-85D3-4000-87FE-C0FA24AB4549}" destId="{955E4765-7A0A-4D69-BC15-341BA4E1677E}" srcOrd="0" destOrd="0" presId="urn:microsoft.com/office/officeart/2005/8/layout/vList2"/>
    <dgm:cxn modelId="{548807B1-158E-4C2C-B40E-E21D6B80F5C1}" srcId="{CB89A5D1-128E-4AA9-8D92-3691A85C3E02}" destId="{0F39E448-D434-4BC2-855E-A9DE6708E88B}" srcOrd="4" destOrd="0" parTransId="{4D652513-3BA3-48DF-9FB6-B1C099C27B31}" sibTransId="{584069F5-D018-4AA9-8E7A-57139AABB92F}"/>
    <dgm:cxn modelId="{42B3A1B6-5B32-4F69-AD13-E783FFD864D6}" srcId="{A8497557-DF2F-4836-96EA-12D72E7576F1}" destId="{AB081039-2860-4E7A-ACAC-FB3D3E7E5BC8}" srcOrd="0" destOrd="0" parTransId="{1D9752CD-40C0-4E72-8223-DFF05AA980CE}" sibTransId="{ABF5B586-65A1-4EB3-A27F-113BF29E7CFE}"/>
    <dgm:cxn modelId="{720A76B9-D9BF-44B6-A0DC-32FB9EF060FE}" srcId="{CB89A5D1-128E-4AA9-8D92-3691A85C3E02}" destId="{1FC3B4D8-85D3-4000-87FE-C0FA24AB4549}" srcOrd="2" destOrd="0" parTransId="{D8194E2E-028A-4F88-8581-B287474A43E5}" sibTransId="{C3306F26-F596-4391-BA4B-E1344570A662}"/>
    <dgm:cxn modelId="{84373AC5-D014-4A85-A8BE-2868A718616A}" srcId="{492C5AE9-95C3-456E-911A-320BEC833FD5}" destId="{B119633C-2F8F-42A6-A5E2-28564D053D5D}" srcOrd="0" destOrd="0" parTransId="{E7BFF7B0-46A3-4147-BC92-90D806E8B338}" sibTransId="{09E7D449-5863-4709-BDCE-5AB3A628A668}"/>
    <dgm:cxn modelId="{5F2A11CC-37F1-46E5-9E16-97C9E0DB2C00}" type="presOf" srcId="{CB89A5D1-128E-4AA9-8D92-3691A85C3E02}" destId="{215FCBE8-6756-4005-B2F5-694C6E319097}" srcOrd="0" destOrd="0" presId="urn:microsoft.com/office/officeart/2005/8/layout/vList2"/>
    <dgm:cxn modelId="{15DBFAE4-1051-4594-A619-1E6831B728CC}" type="presOf" srcId="{492C5AE9-95C3-456E-911A-320BEC833FD5}" destId="{726B4376-B666-45E0-B9DF-AF983DDA1FE0}" srcOrd="0" destOrd="0" presId="urn:microsoft.com/office/officeart/2005/8/layout/vList2"/>
    <dgm:cxn modelId="{EC43F7EA-B2ED-4600-8505-5F8233637A47}" srcId="{1FC3B4D8-85D3-4000-87FE-C0FA24AB4549}" destId="{6014B797-8B48-444C-AC8D-4D0C76803F8C}" srcOrd="0" destOrd="0" parTransId="{9915E52B-83D8-4D68-AD6C-1EB403F8F74B}" sibTransId="{BE1F7EE6-7800-4371-B692-97FAC9A174EA}"/>
    <dgm:cxn modelId="{81620614-F5DF-4D5A-8B34-6F6DF770C885}" type="presParOf" srcId="{215FCBE8-6756-4005-B2F5-694C6E319097}" destId="{211D8D8D-64AB-4EF4-A033-DF1B62C3FA69}" srcOrd="0" destOrd="0" presId="urn:microsoft.com/office/officeart/2005/8/layout/vList2"/>
    <dgm:cxn modelId="{F15BC48A-B545-4FE0-9DB4-30F68327FFEF}" type="presParOf" srcId="{215FCBE8-6756-4005-B2F5-694C6E319097}" destId="{45AFBD70-A49A-4437-9B50-566A7513C31D}" srcOrd="1" destOrd="0" presId="urn:microsoft.com/office/officeart/2005/8/layout/vList2"/>
    <dgm:cxn modelId="{FD759997-E179-401F-8647-46E8A19B4FD7}" type="presParOf" srcId="{215FCBE8-6756-4005-B2F5-694C6E319097}" destId="{D8FB4D3C-FA37-42EC-BB69-8A25BC874D6C}" srcOrd="2" destOrd="0" presId="urn:microsoft.com/office/officeart/2005/8/layout/vList2"/>
    <dgm:cxn modelId="{718B692F-18F5-44C4-A754-7CA2AC77F5B8}" type="presParOf" srcId="{215FCBE8-6756-4005-B2F5-694C6E319097}" destId="{194E361B-D9C6-47BD-81D8-4D9E1E610039}" srcOrd="3" destOrd="0" presId="urn:microsoft.com/office/officeart/2005/8/layout/vList2"/>
    <dgm:cxn modelId="{9A9FAA00-25DD-42D3-A634-1604A0DF1242}" type="presParOf" srcId="{215FCBE8-6756-4005-B2F5-694C6E319097}" destId="{955E4765-7A0A-4D69-BC15-341BA4E1677E}" srcOrd="4" destOrd="0" presId="urn:microsoft.com/office/officeart/2005/8/layout/vList2"/>
    <dgm:cxn modelId="{5F35FFBF-9795-43E4-BBB2-B47542CB0C00}" type="presParOf" srcId="{215FCBE8-6756-4005-B2F5-694C6E319097}" destId="{417239AC-CA82-4757-92F4-240B446EE8E7}" srcOrd="5" destOrd="0" presId="urn:microsoft.com/office/officeart/2005/8/layout/vList2"/>
    <dgm:cxn modelId="{121FE747-99E1-4F3F-98EA-1AFA6F795175}" type="presParOf" srcId="{215FCBE8-6756-4005-B2F5-694C6E319097}" destId="{726B4376-B666-45E0-B9DF-AF983DDA1FE0}" srcOrd="6" destOrd="0" presId="urn:microsoft.com/office/officeart/2005/8/layout/vList2"/>
    <dgm:cxn modelId="{C9DC9BD0-6C6F-447C-9DC0-6E7E4317B45B}" type="presParOf" srcId="{215FCBE8-6756-4005-B2F5-694C6E319097}" destId="{86DB398D-C7DB-432A-98B9-9977903F9683}" srcOrd="7" destOrd="0" presId="urn:microsoft.com/office/officeart/2005/8/layout/vList2"/>
    <dgm:cxn modelId="{499073EE-9B11-432C-8768-B23C40545B22}" type="presParOf" srcId="{215FCBE8-6756-4005-B2F5-694C6E319097}" destId="{C737AAFF-6AD3-4EED-BB0D-54595A00E340}"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12C8120-338E-4538-8B38-9983FFC5786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4FB5F449-6D00-4A68-9F1D-71B06626F3A6}">
      <dgm:prSet/>
      <dgm:spPr/>
      <dgm:t>
        <a:bodyPr/>
        <a:lstStyle/>
        <a:p>
          <a:r>
            <a:rPr lang="en-US" dirty="0"/>
            <a:t>Get-</a:t>
          </a:r>
          <a:r>
            <a:rPr lang="en-US" dirty="0" err="1"/>
            <a:t>SPOExternalUser</a:t>
          </a:r>
          <a:endParaRPr lang="nb-NO" dirty="0"/>
        </a:p>
      </dgm:t>
    </dgm:pt>
    <dgm:pt modelId="{100F8EF3-1698-4737-96ED-A5C4CF08652A}" type="parTrans" cxnId="{A079CF6A-7617-4C5D-A3B8-D00C69A625FD}">
      <dgm:prSet/>
      <dgm:spPr/>
      <dgm:t>
        <a:bodyPr/>
        <a:lstStyle/>
        <a:p>
          <a:endParaRPr lang="en-US"/>
        </a:p>
      </dgm:t>
    </dgm:pt>
    <dgm:pt modelId="{717B1F53-E5B1-47F7-BBBB-24CD3FE5CB60}" type="sibTrans" cxnId="{A079CF6A-7617-4C5D-A3B8-D00C69A625FD}">
      <dgm:prSet/>
      <dgm:spPr/>
      <dgm:t>
        <a:bodyPr/>
        <a:lstStyle/>
        <a:p>
          <a:endParaRPr lang="en-US"/>
        </a:p>
      </dgm:t>
    </dgm:pt>
    <dgm:pt modelId="{88C22296-8439-403C-82C1-660C31E03ACE}">
      <dgm:prSet/>
      <dgm:spPr/>
      <dgm:t>
        <a:bodyPr/>
        <a:lstStyle/>
        <a:p>
          <a:r>
            <a:rPr lang="en-US" dirty="0"/>
            <a:t>Get-</a:t>
          </a:r>
          <a:r>
            <a:rPr lang="en-US" dirty="0" err="1"/>
            <a:t>SPOExternalUser</a:t>
          </a:r>
          <a:r>
            <a:rPr lang="en-US" dirty="0"/>
            <a:t> -Position 0 -</a:t>
          </a:r>
          <a:r>
            <a:rPr lang="en-US" dirty="0" err="1"/>
            <a:t>PageSize</a:t>
          </a:r>
          <a:r>
            <a:rPr lang="en-US" dirty="0"/>
            <a:t> 30 -Filter @testsite.com</a:t>
          </a:r>
          <a:endParaRPr lang="nb-NO" dirty="0"/>
        </a:p>
      </dgm:t>
    </dgm:pt>
    <dgm:pt modelId="{596498DD-5ECF-4308-AE14-E2C1398D1525}" type="parTrans" cxnId="{28429D14-6242-44F2-A643-F026A01B1D12}">
      <dgm:prSet/>
      <dgm:spPr/>
      <dgm:t>
        <a:bodyPr/>
        <a:lstStyle/>
        <a:p>
          <a:endParaRPr lang="en-US"/>
        </a:p>
      </dgm:t>
    </dgm:pt>
    <dgm:pt modelId="{FAEC544C-BFA7-4FAA-9459-71B516E484E8}" type="sibTrans" cxnId="{28429D14-6242-44F2-A643-F026A01B1D12}">
      <dgm:prSet/>
      <dgm:spPr/>
      <dgm:t>
        <a:bodyPr/>
        <a:lstStyle/>
        <a:p>
          <a:endParaRPr lang="en-US"/>
        </a:p>
      </dgm:t>
    </dgm:pt>
    <dgm:pt modelId="{F3AA46E5-D2BA-4872-9F52-DCD9D5AB57C6}">
      <dgm:prSet/>
      <dgm:spPr/>
      <dgm:t>
        <a:bodyPr/>
        <a:lstStyle/>
        <a:p>
          <a:r>
            <a:rPr lang="en-US" dirty="0"/>
            <a:t>Remove-</a:t>
          </a:r>
          <a:r>
            <a:rPr lang="en-US" dirty="0" err="1"/>
            <a:t>SPOExternalUser</a:t>
          </a:r>
          <a:endParaRPr lang="nb-NO" dirty="0"/>
        </a:p>
      </dgm:t>
    </dgm:pt>
    <dgm:pt modelId="{607306AD-0EE5-4469-B35B-C6E4713EDEA4}" type="parTrans" cxnId="{D005B007-2822-4E7A-93CE-AC211F5A74DA}">
      <dgm:prSet/>
      <dgm:spPr/>
      <dgm:t>
        <a:bodyPr/>
        <a:lstStyle/>
        <a:p>
          <a:endParaRPr lang="en-US"/>
        </a:p>
      </dgm:t>
    </dgm:pt>
    <dgm:pt modelId="{0CB89997-D228-44BB-B9DF-3DB6716B7D03}" type="sibTrans" cxnId="{D005B007-2822-4E7A-93CE-AC211F5A74DA}">
      <dgm:prSet/>
      <dgm:spPr/>
      <dgm:t>
        <a:bodyPr/>
        <a:lstStyle/>
        <a:p>
          <a:endParaRPr lang="en-US"/>
        </a:p>
      </dgm:t>
    </dgm:pt>
    <dgm:pt modelId="{CA54A773-AAA4-4CA2-ACFD-FCC8765C96A0}">
      <dgm:prSet/>
      <dgm:spPr/>
      <dgm:t>
        <a:bodyPr/>
        <a:lstStyle/>
        <a:p>
          <a:r>
            <a:rPr lang="en-US" dirty="0"/>
            <a:t>$user = Get-</a:t>
          </a:r>
          <a:r>
            <a:rPr lang="en-US" dirty="0" err="1"/>
            <a:t>SPOExternalUser</a:t>
          </a:r>
          <a:r>
            <a:rPr lang="en-US" dirty="0"/>
            <a:t> -Filter someone@example</a:t>
          </a:r>
          <a:r>
            <a:rPr lang="en-US"/>
            <a:t>.com</a:t>
          </a:r>
          <a:endParaRPr lang="nb-NO" dirty="0"/>
        </a:p>
      </dgm:t>
    </dgm:pt>
    <dgm:pt modelId="{2F68F7EB-0552-40A3-956D-AEC3863065D5}" type="parTrans" cxnId="{F32EF568-52F2-4693-A41C-F94CFD254805}">
      <dgm:prSet/>
      <dgm:spPr/>
      <dgm:t>
        <a:bodyPr/>
        <a:lstStyle/>
        <a:p>
          <a:endParaRPr lang="en-US"/>
        </a:p>
      </dgm:t>
    </dgm:pt>
    <dgm:pt modelId="{77C4EFBA-52C0-4FFF-A793-673188D6D083}" type="sibTrans" cxnId="{F32EF568-52F2-4693-A41C-F94CFD254805}">
      <dgm:prSet/>
      <dgm:spPr/>
      <dgm:t>
        <a:bodyPr/>
        <a:lstStyle/>
        <a:p>
          <a:endParaRPr lang="en-US"/>
        </a:p>
      </dgm:t>
    </dgm:pt>
    <dgm:pt modelId="{2F4B150B-CF64-4336-9E4E-437D025DF94A}">
      <dgm:prSet/>
      <dgm:spPr/>
      <dgm:t>
        <a:bodyPr/>
        <a:lstStyle/>
        <a:p>
          <a:r>
            <a:rPr lang="en-US" dirty="0"/>
            <a:t>You must be a SharePoint Online admin.</a:t>
          </a:r>
          <a:endParaRPr lang="nb-NO" dirty="0"/>
        </a:p>
      </dgm:t>
    </dgm:pt>
    <dgm:pt modelId="{57F44EFC-F88D-4111-992B-480D4A1B06EA}" type="parTrans" cxnId="{D88924EC-85D2-4F8A-BEFB-B43B2A0FB1EA}">
      <dgm:prSet/>
      <dgm:spPr/>
      <dgm:t>
        <a:bodyPr/>
        <a:lstStyle/>
        <a:p>
          <a:endParaRPr lang="en-US"/>
        </a:p>
      </dgm:t>
    </dgm:pt>
    <dgm:pt modelId="{3C2EB18B-1902-42FB-9536-16FB19AA5999}" type="sibTrans" cxnId="{D88924EC-85D2-4F8A-BEFB-B43B2A0FB1EA}">
      <dgm:prSet/>
      <dgm:spPr/>
      <dgm:t>
        <a:bodyPr/>
        <a:lstStyle/>
        <a:p>
          <a:endParaRPr lang="en-US"/>
        </a:p>
      </dgm:t>
    </dgm:pt>
    <dgm:pt modelId="{093671EF-65B2-465F-83A3-84FC6C3CB016}">
      <dgm:prSet/>
      <dgm:spPr/>
      <dgm:t>
        <a:bodyPr/>
        <a:lstStyle/>
        <a:p>
          <a:r>
            <a:rPr lang="en-US" dirty="0"/>
            <a:t>Remove-</a:t>
          </a:r>
          <a:r>
            <a:rPr lang="en-US" dirty="0" err="1"/>
            <a:t>SPOExternalUser</a:t>
          </a:r>
          <a:r>
            <a:rPr lang="en-US" dirty="0"/>
            <a:t> -</a:t>
          </a:r>
          <a:r>
            <a:rPr lang="en-US" dirty="0" err="1"/>
            <a:t>UniqueIDs</a:t>
          </a:r>
          <a:r>
            <a:rPr lang="en-US" dirty="0"/>
            <a:t> @($</a:t>
          </a:r>
          <a:r>
            <a:rPr lang="en-US" dirty="0" err="1"/>
            <a:t>user.UniqueId</a:t>
          </a:r>
          <a:r>
            <a:rPr lang="en-US" dirty="0"/>
            <a:t>)</a:t>
          </a:r>
          <a:endParaRPr lang="nb-NO" dirty="0"/>
        </a:p>
      </dgm:t>
    </dgm:pt>
    <dgm:pt modelId="{A8594CC6-D8E8-4EA6-B39C-578D97F6BD06}" type="sibTrans" cxnId="{50A10492-813F-409C-A54E-A0EC96118150}">
      <dgm:prSet/>
      <dgm:spPr/>
      <dgm:t>
        <a:bodyPr/>
        <a:lstStyle/>
        <a:p>
          <a:endParaRPr lang="en-SE"/>
        </a:p>
      </dgm:t>
    </dgm:pt>
    <dgm:pt modelId="{66DF28D0-B653-4C59-B475-EAB1811A0662}" type="parTrans" cxnId="{50A10492-813F-409C-A54E-A0EC96118150}">
      <dgm:prSet/>
      <dgm:spPr/>
      <dgm:t>
        <a:bodyPr/>
        <a:lstStyle/>
        <a:p>
          <a:endParaRPr lang="en-SE"/>
        </a:p>
      </dgm:t>
    </dgm:pt>
    <dgm:pt modelId="{0FAFDB99-8F13-4067-9CAF-78E8B49BFB86}" type="pres">
      <dgm:prSet presAssocID="{D12C8120-338E-4538-8B38-9983FFC57862}" presName="linear" presStyleCnt="0">
        <dgm:presLayoutVars>
          <dgm:animLvl val="lvl"/>
          <dgm:resizeHandles val="exact"/>
        </dgm:presLayoutVars>
      </dgm:prSet>
      <dgm:spPr/>
    </dgm:pt>
    <dgm:pt modelId="{2A3D5595-D75C-4E29-8D5E-095E65824C9B}" type="pres">
      <dgm:prSet presAssocID="{4FB5F449-6D00-4A68-9F1D-71B06626F3A6}" presName="parentText" presStyleLbl="node1" presStyleIdx="0" presStyleCnt="3">
        <dgm:presLayoutVars>
          <dgm:chMax val="0"/>
          <dgm:bulletEnabled val="1"/>
        </dgm:presLayoutVars>
      </dgm:prSet>
      <dgm:spPr/>
    </dgm:pt>
    <dgm:pt modelId="{D9C14CAA-3631-43D5-89FA-0358F090EF0A}" type="pres">
      <dgm:prSet presAssocID="{4FB5F449-6D00-4A68-9F1D-71B06626F3A6}" presName="childText" presStyleLbl="revTx" presStyleIdx="0" presStyleCnt="2">
        <dgm:presLayoutVars>
          <dgm:bulletEnabled val="1"/>
        </dgm:presLayoutVars>
      </dgm:prSet>
      <dgm:spPr/>
    </dgm:pt>
    <dgm:pt modelId="{AC9C0D66-4476-453B-B138-23DEF2BEDF8E}" type="pres">
      <dgm:prSet presAssocID="{F3AA46E5-D2BA-4872-9F52-DCD9D5AB57C6}" presName="parentText" presStyleLbl="node1" presStyleIdx="1" presStyleCnt="3">
        <dgm:presLayoutVars>
          <dgm:chMax val="0"/>
          <dgm:bulletEnabled val="1"/>
        </dgm:presLayoutVars>
      </dgm:prSet>
      <dgm:spPr/>
    </dgm:pt>
    <dgm:pt modelId="{DCB8A046-6EDB-4C39-A9DA-6AA42A0A50B0}" type="pres">
      <dgm:prSet presAssocID="{F3AA46E5-D2BA-4872-9F52-DCD9D5AB57C6}" presName="childText" presStyleLbl="revTx" presStyleIdx="1" presStyleCnt="2">
        <dgm:presLayoutVars>
          <dgm:bulletEnabled val="1"/>
        </dgm:presLayoutVars>
      </dgm:prSet>
      <dgm:spPr/>
    </dgm:pt>
    <dgm:pt modelId="{AD186EE7-BBE3-4372-8419-5F7BE05DE232}" type="pres">
      <dgm:prSet presAssocID="{2F4B150B-CF64-4336-9E4E-437D025DF94A}" presName="parentText" presStyleLbl="node1" presStyleIdx="2" presStyleCnt="3">
        <dgm:presLayoutVars>
          <dgm:chMax val="0"/>
          <dgm:bulletEnabled val="1"/>
        </dgm:presLayoutVars>
      </dgm:prSet>
      <dgm:spPr/>
    </dgm:pt>
  </dgm:ptLst>
  <dgm:cxnLst>
    <dgm:cxn modelId="{0FB06904-9575-4512-AA81-E7CA39A819BD}" type="presOf" srcId="{D12C8120-338E-4538-8B38-9983FFC57862}" destId="{0FAFDB99-8F13-4067-9CAF-78E8B49BFB86}" srcOrd="0" destOrd="0" presId="urn:microsoft.com/office/officeart/2005/8/layout/vList2"/>
    <dgm:cxn modelId="{D005B007-2822-4E7A-93CE-AC211F5A74DA}" srcId="{D12C8120-338E-4538-8B38-9983FFC57862}" destId="{F3AA46E5-D2BA-4872-9F52-DCD9D5AB57C6}" srcOrd="1" destOrd="0" parTransId="{607306AD-0EE5-4469-B35B-C6E4713EDEA4}" sibTransId="{0CB89997-D228-44BB-B9DF-3DB6716B7D03}"/>
    <dgm:cxn modelId="{28429D14-6242-44F2-A643-F026A01B1D12}" srcId="{4FB5F449-6D00-4A68-9F1D-71B06626F3A6}" destId="{88C22296-8439-403C-82C1-660C31E03ACE}" srcOrd="0" destOrd="0" parTransId="{596498DD-5ECF-4308-AE14-E2C1398D1525}" sibTransId="{FAEC544C-BFA7-4FAA-9459-71B516E484E8}"/>
    <dgm:cxn modelId="{31267720-AFBA-4CC4-83B5-81ED54BCFAA6}" type="presOf" srcId="{2F4B150B-CF64-4336-9E4E-437D025DF94A}" destId="{AD186EE7-BBE3-4372-8419-5F7BE05DE232}" srcOrd="0" destOrd="0" presId="urn:microsoft.com/office/officeart/2005/8/layout/vList2"/>
    <dgm:cxn modelId="{DDD5EB35-5176-4BB1-99B4-9CBDCE43F0E2}" type="presOf" srcId="{F3AA46E5-D2BA-4872-9F52-DCD9D5AB57C6}" destId="{AC9C0D66-4476-453B-B138-23DEF2BEDF8E}" srcOrd="0" destOrd="0" presId="urn:microsoft.com/office/officeart/2005/8/layout/vList2"/>
    <dgm:cxn modelId="{0505A83F-B6D8-40FF-90DF-3E4E2DBA68E8}" type="presOf" srcId="{88C22296-8439-403C-82C1-660C31E03ACE}" destId="{D9C14CAA-3631-43D5-89FA-0358F090EF0A}" srcOrd="0" destOrd="0" presId="urn:microsoft.com/office/officeart/2005/8/layout/vList2"/>
    <dgm:cxn modelId="{F32EF568-52F2-4693-A41C-F94CFD254805}" srcId="{F3AA46E5-D2BA-4872-9F52-DCD9D5AB57C6}" destId="{CA54A773-AAA4-4CA2-ACFD-FCC8765C96A0}" srcOrd="0" destOrd="0" parTransId="{2F68F7EB-0552-40A3-956D-AEC3863065D5}" sibTransId="{77C4EFBA-52C0-4FFF-A793-673188D6D083}"/>
    <dgm:cxn modelId="{A079CF6A-7617-4C5D-A3B8-D00C69A625FD}" srcId="{D12C8120-338E-4538-8B38-9983FFC57862}" destId="{4FB5F449-6D00-4A68-9F1D-71B06626F3A6}" srcOrd="0" destOrd="0" parTransId="{100F8EF3-1698-4737-96ED-A5C4CF08652A}" sibTransId="{717B1F53-E5B1-47F7-BBBB-24CD3FE5CB60}"/>
    <dgm:cxn modelId="{7E837D85-8CF2-44B0-993E-07EF414013AC}" type="presOf" srcId="{093671EF-65B2-465F-83A3-84FC6C3CB016}" destId="{DCB8A046-6EDB-4C39-A9DA-6AA42A0A50B0}" srcOrd="0" destOrd="1" presId="urn:microsoft.com/office/officeart/2005/8/layout/vList2"/>
    <dgm:cxn modelId="{50A10492-813F-409C-A54E-A0EC96118150}" srcId="{F3AA46E5-D2BA-4872-9F52-DCD9D5AB57C6}" destId="{093671EF-65B2-465F-83A3-84FC6C3CB016}" srcOrd="1" destOrd="0" parTransId="{66DF28D0-B653-4C59-B475-EAB1811A0662}" sibTransId="{A8594CC6-D8E8-4EA6-B39C-578D97F6BD06}"/>
    <dgm:cxn modelId="{4D445EA6-E987-412A-9EBF-FE0527BCF0D1}" type="presOf" srcId="{CA54A773-AAA4-4CA2-ACFD-FCC8765C96A0}" destId="{DCB8A046-6EDB-4C39-A9DA-6AA42A0A50B0}" srcOrd="0" destOrd="0" presId="urn:microsoft.com/office/officeart/2005/8/layout/vList2"/>
    <dgm:cxn modelId="{96CE2ABC-7025-47A3-97C3-3AF22612596C}" type="presOf" srcId="{4FB5F449-6D00-4A68-9F1D-71B06626F3A6}" destId="{2A3D5595-D75C-4E29-8D5E-095E65824C9B}" srcOrd="0" destOrd="0" presId="urn:microsoft.com/office/officeart/2005/8/layout/vList2"/>
    <dgm:cxn modelId="{D88924EC-85D2-4F8A-BEFB-B43B2A0FB1EA}" srcId="{D12C8120-338E-4538-8B38-9983FFC57862}" destId="{2F4B150B-CF64-4336-9E4E-437D025DF94A}" srcOrd="2" destOrd="0" parTransId="{57F44EFC-F88D-4111-992B-480D4A1B06EA}" sibTransId="{3C2EB18B-1902-42FB-9536-16FB19AA5999}"/>
    <dgm:cxn modelId="{99AF5DD7-2FD2-4AD4-9AEA-77D830301C57}" type="presParOf" srcId="{0FAFDB99-8F13-4067-9CAF-78E8B49BFB86}" destId="{2A3D5595-D75C-4E29-8D5E-095E65824C9B}" srcOrd="0" destOrd="0" presId="urn:microsoft.com/office/officeart/2005/8/layout/vList2"/>
    <dgm:cxn modelId="{FEA4C6A9-AA56-4536-89FD-4A845EB31396}" type="presParOf" srcId="{0FAFDB99-8F13-4067-9CAF-78E8B49BFB86}" destId="{D9C14CAA-3631-43D5-89FA-0358F090EF0A}" srcOrd="1" destOrd="0" presId="urn:microsoft.com/office/officeart/2005/8/layout/vList2"/>
    <dgm:cxn modelId="{72E4C954-C29A-49D0-B8EE-F9D5F41793B3}" type="presParOf" srcId="{0FAFDB99-8F13-4067-9CAF-78E8B49BFB86}" destId="{AC9C0D66-4476-453B-B138-23DEF2BEDF8E}" srcOrd="2" destOrd="0" presId="urn:microsoft.com/office/officeart/2005/8/layout/vList2"/>
    <dgm:cxn modelId="{73685601-DB45-4A98-ABBD-1865C8EBE5EE}" type="presParOf" srcId="{0FAFDB99-8F13-4067-9CAF-78E8B49BFB86}" destId="{DCB8A046-6EDB-4C39-A9DA-6AA42A0A50B0}" srcOrd="3" destOrd="0" presId="urn:microsoft.com/office/officeart/2005/8/layout/vList2"/>
    <dgm:cxn modelId="{22109EC0-8C05-4E0D-8885-2E73C93ADB33}" type="presParOf" srcId="{0FAFDB99-8F13-4067-9CAF-78E8B49BFB86}" destId="{AD186EE7-BBE3-4372-8419-5F7BE05DE23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D12119F-A18E-4E87-A61D-EB85D7B99CC9}"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AA3E6B18-ADA3-4B14-B223-54C696B3AEB1}">
      <dgm:prSet/>
      <dgm:spPr/>
      <dgm:t>
        <a:bodyPr/>
        <a:lstStyle/>
        <a:p>
          <a:r>
            <a:rPr lang="en-US"/>
            <a:t>Get-SPOSiteGroup </a:t>
          </a:r>
          <a:endParaRPr lang="nb-NO"/>
        </a:p>
      </dgm:t>
    </dgm:pt>
    <dgm:pt modelId="{957812AF-415D-42E8-A0E7-F00AB1302E56}" type="parTrans" cxnId="{28B87083-4DE0-4EE0-945E-D2B90D84B1E3}">
      <dgm:prSet/>
      <dgm:spPr/>
      <dgm:t>
        <a:bodyPr/>
        <a:lstStyle/>
        <a:p>
          <a:endParaRPr lang="en-US"/>
        </a:p>
      </dgm:t>
    </dgm:pt>
    <dgm:pt modelId="{3E1D00AB-D5DB-4127-AB0A-EAFB0CA5CB1E}" type="sibTrans" cxnId="{28B87083-4DE0-4EE0-945E-D2B90D84B1E3}">
      <dgm:prSet/>
      <dgm:spPr/>
      <dgm:t>
        <a:bodyPr/>
        <a:lstStyle/>
        <a:p>
          <a:endParaRPr lang="en-US"/>
        </a:p>
      </dgm:t>
    </dgm:pt>
    <dgm:pt modelId="{8EEA7ABA-FBBD-4C89-A097-478821FCD0D1}">
      <dgm:prSet/>
      <dgm:spPr/>
      <dgm:t>
        <a:bodyPr/>
        <a:lstStyle/>
        <a:p>
          <a:r>
            <a:rPr lang="en-US" dirty="0"/>
            <a:t>Get-</a:t>
          </a:r>
          <a:r>
            <a:rPr lang="en-US" dirty="0" err="1"/>
            <a:t>SPOSiteGroup</a:t>
          </a:r>
          <a:r>
            <a:rPr lang="en-US" dirty="0"/>
            <a:t> -Site http://contoso.sharepoint.com/sites/marketing</a:t>
          </a:r>
          <a:endParaRPr lang="nb-NO" dirty="0"/>
        </a:p>
      </dgm:t>
    </dgm:pt>
    <dgm:pt modelId="{D107CC00-DEA1-4CA6-BAF4-DD2F7FD13637}" type="parTrans" cxnId="{1BE0E697-91CB-48EC-86E3-49FD584459E2}">
      <dgm:prSet/>
      <dgm:spPr/>
      <dgm:t>
        <a:bodyPr/>
        <a:lstStyle/>
        <a:p>
          <a:endParaRPr lang="en-US"/>
        </a:p>
      </dgm:t>
    </dgm:pt>
    <dgm:pt modelId="{DA4E3D43-80F3-48C5-B082-DC321A048E78}" type="sibTrans" cxnId="{1BE0E697-91CB-48EC-86E3-49FD584459E2}">
      <dgm:prSet/>
      <dgm:spPr/>
      <dgm:t>
        <a:bodyPr/>
        <a:lstStyle/>
        <a:p>
          <a:endParaRPr lang="en-US"/>
        </a:p>
      </dgm:t>
    </dgm:pt>
    <dgm:pt modelId="{6AC559CD-089B-4DAE-B1C4-BF05B8F9B6C3}">
      <dgm:prSet/>
      <dgm:spPr/>
      <dgm:t>
        <a:bodyPr/>
        <a:lstStyle/>
        <a:p>
          <a:r>
            <a:rPr lang="en-US" dirty="0"/>
            <a:t>New-</a:t>
          </a:r>
          <a:r>
            <a:rPr lang="en-US" dirty="0" err="1"/>
            <a:t>SPOSiteGroup</a:t>
          </a:r>
          <a:endParaRPr lang="nb-NO" dirty="0"/>
        </a:p>
      </dgm:t>
    </dgm:pt>
    <dgm:pt modelId="{160F8F3D-7BB2-4472-BED7-C823FB6E2650}" type="parTrans" cxnId="{93C03C6C-CF5D-412E-B1AC-B41A99A40D43}">
      <dgm:prSet/>
      <dgm:spPr/>
      <dgm:t>
        <a:bodyPr/>
        <a:lstStyle/>
        <a:p>
          <a:endParaRPr lang="en-US"/>
        </a:p>
      </dgm:t>
    </dgm:pt>
    <dgm:pt modelId="{F16636D2-CEC7-4597-8C9E-49ADEB493468}" type="sibTrans" cxnId="{93C03C6C-CF5D-412E-B1AC-B41A99A40D43}">
      <dgm:prSet/>
      <dgm:spPr/>
      <dgm:t>
        <a:bodyPr/>
        <a:lstStyle/>
        <a:p>
          <a:endParaRPr lang="en-US"/>
        </a:p>
      </dgm:t>
    </dgm:pt>
    <dgm:pt modelId="{73C7BCC3-E8EC-4165-828C-BB61FDBCD9C3}">
      <dgm:prSet/>
      <dgm:spPr/>
      <dgm:t>
        <a:bodyPr/>
        <a:lstStyle/>
        <a:p>
          <a:r>
            <a:rPr lang="en-US" dirty="0"/>
            <a:t>New-</a:t>
          </a:r>
          <a:r>
            <a:rPr lang="en-US" dirty="0" err="1"/>
            <a:t>SPOSiteGroup</a:t>
          </a:r>
          <a:r>
            <a:rPr lang="en-US" dirty="0"/>
            <a:t> -Site https://contoso.sharepoint.com/sites/marketing -Group "Project Leads" -</a:t>
          </a:r>
          <a:r>
            <a:rPr lang="en-US" dirty="0" err="1"/>
            <a:t>PermissionLevels</a:t>
          </a:r>
          <a:r>
            <a:rPr lang="en-US" dirty="0"/>
            <a:t> "Full Control" </a:t>
          </a:r>
          <a:endParaRPr lang="nb-NO" dirty="0"/>
        </a:p>
      </dgm:t>
    </dgm:pt>
    <dgm:pt modelId="{326899C0-C6FF-4890-B653-C652B24FCC50}" type="parTrans" cxnId="{1A94FE8C-B5BF-454C-8013-B8AB482B9BE7}">
      <dgm:prSet/>
      <dgm:spPr/>
      <dgm:t>
        <a:bodyPr/>
        <a:lstStyle/>
        <a:p>
          <a:endParaRPr lang="en-US"/>
        </a:p>
      </dgm:t>
    </dgm:pt>
    <dgm:pt modelId="{6B8E981C-B75B-4519-B0BD-89FC907F5874}" type="sibTrans" cxnId="{1A94FE8C-B5BF-454C-8013-B8AB482B9BE7}">
      <dgm:prSet/>
      <dgm:spPr/>
      <dgm:t>
        <a:bodyPr/>
        <a:lstStyle/>
        <a:p>
          <a:endParaRPr lang="en-US"/>
        </a:p>
      </dgm:t>
    </dgm:pt>
    <dgm:pt modelId="{DA709968-B212-44C8-949D-0E92B3A21C19}">
      <dgm:prSet/>
      <dgm:spPr/>
      <dgm:t>
        <a:bodyPr/>
        <a:lstStyle/>
        <a:p>
          <a:r>
            <a:rPr lang="en-US" dirty="0"/>
            <a:t>Remove-</a:t>
          </a:r>
          <a:r>
            <a:rPr lang="en-US" dirty="0" err="1"/>
            <a:t>SPOSiteGroup</a:t>
          </a:r>
          <a:endParaRPr lang="nb-NO" dirty="0"/>
        </a:p>
      </dgm:t>
    </dgm:pt>
    <dgm:pt modelId="{CA067FAC-37EF-4DA0-B728-7E3337AFDCF2}" type="parTrans" cxnId="{61C5A2A9-D343-497F-BED0-D59B7CD94D3C}">
      <dgm:prSet/>
      <dgm:spPr/>
      <dgm:t>
        <a:bodyPr/>
        <a:lstStyle/>
        <a:p>
          <a:endParaRPr lang="en-US"/>
        </a:p>
      </dgm:t>
    </dgm:pt>
    <dgm:pt modelId="{DDE91362-0CD6-4FC4-85C7-D8487214AC02}" type="sibTrans" cxnId="{61C5A2A9-D343-497F-BED0-D59B7CD94D3C}">
      <dgm:prSet/>
      <dgm:spPr/>
      <dgm:t>
        <a:bodyPr/>
        <a:lstStyle/>
        <a:p>
          <a:endParaRPr lang="en-US"/>
        </a:p>
      </dgm:t>
    </dgm:pt>
    <dgm:pt modelId="{0D5644E7-E1D8-43AF-BF9F-2DC91240382A}">
      <dgm:prSet/>
      <dgm:spPr/>
      <dgm:t>
        <a:bodyPr/>
        <a:lstStyle/>
        <a:p>
          <a:r>
            <a:rPr lang="en-US" dirty="0"/>
            <a:t>Remove-</a:t>
          </a:r>
          <a:r>
            <a:rPr lang="en-US" dirty="0" err="1"/>
            <a:t>SPOSiteGroup</a:t>
          </a:r>
          <a:r>
            <a:rPr lang="en-US" dirty="0"/>
            <a:t> –Site https://contoso.sharepoint.com/sites/marketing -Identity </a:t>
          </a:r>
          <a:r>
            <a:rPr lang="en-US" dirty="0" err="1"/>
            <a:t>GroupToRemove</a:t>
          </a:r>
          <a:r>
            <a:rPr lang="en-US" dirty="0"/>
            <a:t> </a:t>
          </a:r>
          <a:endParaRPr lang="nb-NO" dirty="0"/>
        </a:p>
      </dgm:t>
    </dgm:pt>
    <dgm:pt modelId="{9D9258F9-9EA9-48D6-904A-713197634EBC}" type="parTrans" cxnId="{CFB8C959-52D8-4B83-B5DE-AFD274CE2AC7}">
      <dgm:prSet/>
      <dgm:spPr/>
      <dgm:t>
        <a:bodyPr/>
        <a:lstStyle/>
        <a:p>
          <a:endParaRPr lang="en-US"/>
        </a:p>
      </dgm:t>
    </dgm:pt>
    <dgm:pt modelId="{65B0B12E-510C-4C51-8F36-A7B50AD62DE8}" type="sibTrans" cxnId="{CFB8C959-52D8-4B83-B5DE-AFD274CE2AC7}">
      <dgm:prSet/>
      <dgm:spPr/>
      <dgm:t>
        <a:bodyPr/>
        <a:lstStyle/>
        <a:p>
          <a:endParaRPr lang="en-US"/>
        </a:p>
      </dgm:t>
    </dgm:pt>
    <dgm:pt modelId="{CBDF2406-E98C-446A-B949-4AB2F0BABB3C}">
      <dgm:prSet/>
      <dgm:spPr/>
      <dgm:t>
        <a:bodyPr/>
        <a:lstStyle/>
        <a:p>
          <a:r>
            <a:rPr lang="en-US" dirty="0"/>
            <a:t>Set-</a:t>
          </a:r>
          <a:r>
            <a:rPr lang="en-US" dirty="0" err="1"/>
            <a:t>SPOSiteGroup</a:t>
          </a:r>
          <a:r>
            <a:rPr lang="en-US" dirty="0"/>
            <a:t> </a:t>
          </a:r>
          <a:endParaRPr lang="nb-NO" dirty="0"/>
        </a:p>
      </dgm:t>
    </dgm:pt>
    <dgm:pt modelId="{2CB3BDFB-8D1F-4C0E-A29B-4DD5D30F74A7}" type="parTrans" cxnId="{2F9DE0CC-8090-43BE-B987-2C8805E45500}">
      <dgm:prSet/>
      <dgm:spPr/>
      <dgm:t>
        <a:bodyPr/>
        <a:lstStyle/>
        <a:p>
          <a:endParaRPr lang="en-US"/>
        </a:p>
      </dgm:t>
    </dgm:pt>
    <dgm:pt modelId="{FAA6E0B1-94F1-49F1-AE91-A188BCB76C27}" type="sibTrans" cxnId="{2F9DE0CC-8090-43BE-B987-2C8805E45500}">
      <dgm:prSet/>
      <dgm:spPr/>
      <dgm:t>
        <a:bodyPr/>
        <a:lstStyle/>
        <a:p>
          <a:endParaRPr lang="en-US"/>
        </a:p>
      </dgm:t>
    </dgm:pt>
    <dgm:pt modelId="{71BEBB33-4589-4B67-BE02-3C432F993D1B}">
      <dgm:prSet/>
      <dgm:spPr/>
      <dgm:t>
        <a:bodyPr/>
        <a:lstStyle/>
        <a:p>
          <a:r>
            <a:rPr lang="en-US" dirty="0"/>
            <a:t>Set-</a:t>
          </a:r>
          <a:r>
            <a:rPr lang="en-US" dirty="0" err="1"/>
            <a:t>SPOSiteGroup</a:t>
          </a:r>
          <a:r>
            <a:rPr lang="en-US" dirty="0"/>
            <a:t> -Site http://contoso.sharepoint.com/sites/marketing -Identity "Project Leads" -</a:t>
          </a:r>
          <a:r>
            <a:rPr lang="en-US" dirty="0" err="1"/>
            <a:t>PermissionLevelsToRemove</a:t>
          </a:r>
          <a:r>
            <a:rPr lang="en-US" dirty="0"/>
            <a:t> "Full Control" -</a:t>
          </a:r>
          <a:r>
            <a:rPr lang="en-US" dirty="0" err="1"/>
            <a:t>PermissionLevelsToAdd</a:t>
          </a:r>
          <a:r>
            <a:rPr lang="en-US" dirty="0"/>
            <a:t> "View Only“</a:t>
          </a:r>
          <a:endParaRPr lang="nb-NO" dirty="0"/>
        </a:p>
      </dgm:t>
    </dgm:pt>
    <dgm:pt modelId="{6322C6C3-9008-434B-9E90-8B998BCE0A72}" type="parTrans" cxnId="{65D79BF8-6491-421B-8509-5969835400C1}">
      <dgm:prSet/>
      <dgm:spPr/>
      <dgm:t>
        <a:bodyPr/>
        <a:lstStyle/>
        <a:p>
          <a:endParaRPr lang="en-US"/>
        </a:p>
      </dgm:t>
    </dgm:pt>
    <dgm:pt modelId="{A7D9C95A-749F-48EB-9B7D-4CD18869C78E}" type="sibTrans" cxnId="{65D79BF8-6491-421B-8509-5969835400C1}">
      <dgm:prSet/>
      <dgm:spPr/>
      <dgm:t>
        <a:bodyPr/>
        <a:lstStyle/>
        <a:p>
          <a:endParaRPr lang="en-US"/>
        </a:p>
      </dgm:t>
    </dgm:pt>
    <dgm:pt modelId="{BDDD2521-7598-4DD1-B41E-2F109E515C0E}">
      <dgm:prSet/>
      <dgm:spPr/>
      <dgm:t>
        <a:bodyPr/>
        <a:lstStyle/>
        <a:p>
          <a:r>
            <a:rPr lang="en-US" dirty="0"/>
            <a:t>You must be a SharePoint Online admin.</a:t>
          </a:r>
          <a:endParaRPr lang="nb-NO" dirty="0"/>
        </a:p>
      </dgm:t>
    </dgm:pt>
    <dgm:pt modelId="{378592FC-3E7E-436B-B8F8-2B53263D9DA0}" type="parTrans" cxnId="{B0390117-B7DF-46F1-8D7C-404825951D62}">
      <dgm:prSet/>
      <dgm:spPr/>
      <dgm:t>
        <a:bodyPr/>
        <a:lstStyle/>
        <a:p>
          <a:endParaRPr lang="en-US"/>
        </a:p>
      </dgm:t>
    </dgm:pt>
    <dgm:pt modelId="{B05485F4-C259-4FC9-A144-E93A49A7A14B}" type="sibTrans" cxnId="{B0390117-B7DF-46F1-8D7C-404825951D62}">
      <dgm:prSet/>
      <dgm:spPr/>
      <dgm:t>
        <a:bodyPr/>
        <a:lstStyle/>
        <a:p>
          <a:endParaRPr lang="en-US"/>
        </a:p>
      </dgm:t>
    </dgm:pt>
    <dgm:pt modelId="{3E34C330-44C7-4D25-85A0-0E1081DC09AF}" type="pres">
      <dgm:prSet presAssocID="{7D12119F-A18E-4E87-A61D-EB85D7B99CC9}" presName="linear" presStyleCnt="0">
        <dgm:presLayoutVars>
          <dgm:animLvl val="lvl"/>
          <dgm:resizeHandles val="exact"/>
        </dgm:presLayoutVars>
      </dgm:prSet>
      <dgm:spPr/>
    </dgm:pt>
    <dgm:pt modelId="{2D394743-7069-4636-88CE-E0889E9C4D4D}" type="pres">
      <dgm:prSet presAssocID="{AA3E6B18-ADA3-4B14-B223-54C696B3AEB1}" presName="parentText" presStyleLbl="node1" presStyleIdx="0" presStyleCnt="5">
        <dgm:presLayoutVars>
          <dgm:chMax val="0"/>
          <dgm:bulletEnabled val="1"/>
        </dgm:presLayoutVars>
      </dgm:prSet>
      <dgm:spPr/>
    </dgm:pt>
    <dgm:pt modelId="{3C9AF206-4D14-479D-94B8-56EE8D53E2AE}" type="pres">
      <dgm:prSet presAssocID="{AA3E6B18-ADA3-4B14-B223-54C696B3AEB1}" presName="childText" presStyleLbl="revTx" presStyleIdx="0" presStyleCnt="4">
        <dgm:presLayoutVars>
          <dgm:bulletEnabled val="1"/>
        </dgm:presLayoutVars>
      </dgm:prSet>
      <dgm:spPr/>
    </dgm:pt>
    <dgm:pt modelId="{8E0E21CB-CD63-4AD1-A980-762B41645792}" type="pres">
      <dgm:prSet presAssocID="{6AC559CD-089B-4DAE-B1C4-BF05B8F9B6C3}" presName="parentText" presStyleLbl="node1" presStyleIdx="1" presStyleCnt="5">
        <dgm:presLayoutVars>
          <dgm:chMax val="0"/>
          <dgm:bulletEnabled val="1"/>
        </dgm:presLayoutVars>
      </dgm:prSet>
      <dgm:spPr/>
    </dgm:pt>
    <dgm:pt modelId="{93ADED32-AD1F-4680-964F-313761D1C96B}" type="pres">
      <dgm:prSet presAssocID="{6AC559CD-089B-4DAE-B1C4-BF05B8F9B6C3}" presName="childText" presStyleLbl="revTx" presStyleIdx="1" presStyleCnt="4">
        <dgm:presLayoutVars>
          <dgm:bulletEnabled val="1"/>
        </dgm:presLayoutVars>
      </dgm:prSet>
      <dgm:spPr/>
    </dgm:pt>
    <dgm:pt modelId="{FF6D8443-B27E-4C43-8215-7BA379D133F9}" type="pres">
      <dgm:prSet presAssocID="{DA709968-B212-44C8-949D-0E92B3A21C19}" presName="parentText" presStyleLbl="node1" presStyleIdx="2" presStyleCnt="5">
        <dgm:presLayoutVars>
          <dgm:chMax val="0"/>
          <dgm:bulletEnabled val="1"/>
        </dgm:presLayoutVars>
      </dgm:prSet>
      <dgm:spPr/>
    </dgm:pt>
    <dgm:pt modelId="{8E8248C2-EACF-45CA-9543-1C1C2592F8F4}" type="pres">
      <dgm:prSet presAssocID="{DA709968-B212-44C8-949D-0E92B3A21C19}" presName="childText" presStyleLbl="revTx" presStyleIdx="2" presStyleCnt="4">
        <dgm:presLayoutVars>
          <dgm:bulletEnabled val="1"/>
        </dgm:presLayoutVars>
      </dgm:prSet>
      <dgm:spPr/>
    </dgm:pt>
    <dgm:pt modelId="{01C66945-7F78-49A4-8511-CB81A4B110FA}" type="pres">
      <dgm:prSet presAssocID="{CBDF2406-E98C-446A-B949-4AB2F0BABB3C}" presName="parentText" presStyleLbl="node1" presStyleIdx="3" presStyleCnt="5">
        <dgm:presLayoutVars>
          <dgm:chMax val="0"/>
          <dgm:bulletEnabled val="1"/>
        </dgm:presLayoutVars>
      </dgm:prSet>
      <dgm:spPr/>
    </dgm:pt>
    <dgm:pt modelId="{5BC0C380-D9EB-44C5-BF0B-852A3B13EE51}" type="pres">
      <dgm:prSet presAssocID="{CBDF2406-E98C-446A-B949-4AB2F0BABB3C}" presName="childText" presStyleLbl="revTx" presStyleIdx="3" presStyleCnt="4">
        <dgm:presLayoutVars>
          <dgm:bulletEnabled val="1"/>
        </dgm:presLayoutVars>
      </dgm:prSet>
      <dgm:spPr/>
    </dgm:pt>
    <dgm:pt modelId="{BD36CCA7-EEC6-4E2B-BFCC-CAB7FF8F9EBA}" type="pres">
      <dgm:prSet presAssocID="{BDDD2521-7598-4DD1-B41E-2F109E515C0E}" presName="parentText" presStyleLbl="node1" presStyleIdx="4" presStyleCnt="5">
        <dgm:presLayoutVars>
          <dgm:chMax val="0"/>
          <dgm:bulletEnabled val="1"/>
        </dgm:presLayoutVars>
      </dgm:prSet>
      <dgm:spPr/>
    </dgm:pt>
  </dgm:ptLst>
  <dgm:cxnLst>
    <dgm:cxn modelId="{C3A73705-03E9-496B-B09D-13842E24DFC9}" type="presOf" srcId="{7D12119F-A18E-4E87-A61D-EB85D7B99CC9}" destId="{3E34C330-44C7-4D25-85A0-0E1081DC09AF}" srcOrd="0" destOrd="0" presId="urn:microsoft.com/office/officeart/2005/8/layout/vList2"/>
    <dgm:cxn modelId="{A7E0380B-F201-4C21-A42F-A86ECC2D518A}" type="presOf" srcId="{8EEA7ABA-FBBD-4C89-A097-478821FCD0D1}" destId="{3C9AF206-4D14-479D-94B8-56EE8D53E2AE}" srcOrd="0" destOrd="0" presId="urn:microsoft.com/office/officeart/2005/8/layout/vList2"/>
    <dgm:cxn modelId="{B0390117-B7DF-46F1-8D7C-404825951D62}" srcId="{7D12119F-A18E-4E87-A61D-EB85D7B99CC9}" destId="{BDDD2521-7598-4DD1-B41E-2F109E515C0E}" srcOrd="4" destOrd="0" parTransId="{378592FC-3E7E-436B-B8F8-2B53263D9DA0}" sibTransId="{B05485F4-C259-4FC9-A144-E93A49A7A14B}"/>
    <dgm:cxn modelId="{FAB07342-020B-40A4-B624-F09657A413F9}" type="presOf" srcId="{6AC559CD-089B-4DAE-B1C4-BF05B8F9B6C3}" destId="{8E0E21CB-CD63-4AD1-A980-762B41645792}" srcOrd="0" destOrd="0" presId="urn:microsoft.com/office/officeart/2005/8/layout/vList2"/>
    <dgm:cxn modelId="{A941B345-0E54-4F74-992E-DA0291E47F45}" type="presOf" srcId="{AA3E6B18-ADA3-4B14-B223-54C696B3AEB1}" destId="{2D394743-7069-4636-88CE-E0889E9C4D4D}" srcOrd="0" destOrd="0" presId="urn:microsoft.com/office/officeart/2005/8/layout/vList2"/>
    <dgm:cxn modelId="{93C03C6C-CF5D-412E-B1AC-B41A99A40D43}" srcId="{7D12119F-A18E-4E87-A61D-EB85D7B99CC9}" destId="{6AC559CD-089B-4DAE-B1C4-BF05B8F9B6C3}" srcOrd="1" destOrd="0" parTransId="{160F8F3D-7BB2-4472-BED7-C823FB6E2650}" sibTransId="{F16636D2-CEC7-4597-8C9E-49ADEB493468}"/>
    <dgm:cxn modelId="{C04FC64C-DDB1-4C3B-89C1-C273D72F5DFE}" type="presOf" srcId="{73C7BCC3-E8EC-4165-828C-BB61FDBCD9C3}" destId="{93ADED32-AD1F-4680-964F-313761D1C96B}" srcOrd="0" destOrd="0" presId="urn:microsoft.com/office/officeart/2005/8/layout/vList2"/>
    <dgm:cxn modelId="{53DCA479-D4F9-4689-9056-CA19F8A73AB2}" type="presOf" srcId="{71BEBB33-4589-4B67-BE02-3C432F993D1B}" destId="{5BC0C380-D9EB-44C5-BF0B-852A3B13EE51}" srcOrd="0" destOrd="0" presId="urn:microsoft.com/office/officeart/2005/8/layout/vList2"/>
    <dgm:cxn modelId="{CFB8C959-52D8-4B83-B5DE-AFD274CE2AC7}" srcId="{DA709968-B212-44C8-949D-0E92B3A21C19}" destId="{0D5644E7-E1D8-43AF-BF9F-2DC91240382A}" srcOrd="0" destOrd="0" parTransId="{9D9258F9-9EA9-48D6-904A-713197634EBC}" sibTransId="{65B0B12E-510C-4C51-8F36-A7B50AD62DE8}"/>
    <dgm:cxn modelId="{F401ED82-8CD2-4C4A-8B06-FF2E89788E83}" type="presOf" srcId="{DA709968-B212-44C8-949D-0E92B3A21C19}" destId="{FF6D8443-B27E-4C43-8215-7BA379D133F9}" srcOrd="0" destOrd="0" presId="urn:microsoft.com/office/officeart/2005/8/layout/vList2"/>
    <dgm:cxn modelId="{28B87083-4DE0-4EE0-945E-D2B90D84B1E3}" srcId="{7D12119F-A18E-4E87-A61D-EB85D7B99CC9}" destId="{AA3E6B18-ADA3-4B14-B223-54C696B3AEB1}" srcOrd="0" destOrd="0" parTransId="{957812AF-415D-42E8-A0E7-F00AB1302E56}" sibTransId="{3E1D00AB-D5DB-4127-AB0A-EAFB0CA5CB1E}"/>
    <dgm:cxn modelId="{1A94FE8C-B5BF-454C-8013-B8AB482B9BE7}" srcId="{6AC559CD-089B-4DAE-B1C4-BF05B8F9B6C3}" destId="{73C7BCC3-E8EC-4165-828C-BB61FDBCD9C3}" srcOrd="0" destOrd="0" parTransId="{326899C0-C6FF-4890-B653-C652B24FCC50}" sibTransId="{6B8E981C-B75B-4519-B0BD-89FC907F5874}"/>
    <dgm:cxn modelId="{1BE0E697-91CB-48EC-86E3-49FD584459E2}" srcId="{AA3E6B18-ADA3-4B14-B223-54C696B3AEB1}" destId="{8EEA7ABA-FBBD-4C89-A097-478821FCD0D1}" srcOrd="0" destOrd="0" parTransId="{D107CC00-DEA1-4CA6-BAF4-DD2F7FD13637}" sibTransId="{DA4E3D43-80F3-48C5-B082-DC321A048E78}"/>
    <dgm:cxn modelId="{61C5A2A9-D343-497F-BED0-D59B7CD94D3C}" srcId="{7D12119F-A18E-4E87-A61D-EB85D7B99CC9}" destId="{DA709968-B212-44C8-949D-0E92B3A21C19}" srcOrd="2" destOrd="0" parTransId="{CA067FAC-37EF-4DA0-B728-7E3337AFDCF2}" sibTransId="{DDE91362-0CD6-4FC4-85C7-D8487214AC02}"/>
    <dgm:cxn modelId="{38960AAC-5350-425A-87F1-D5AF4A29B572}" type="presOf" srcId="{CBDF2406-E98C-446A-B949-4AB2F0BABB3C}" destId="{01C66945-7F78-49A4-8511-CB81A4B110FA}" srcOrd="0" destOrd="0" presId="urn:microsoft.com/office/officeart/2005/8/layout/vList2"/>
    <dgm:cxn modelId="{2F9DE0CC-8090-43BE-B987-2C8805E45500}" srcId="{7D12119F-A18E-4E87-A61D-EB85D7B99CC9}" destId="{CBDF2406-E98C-446A-B949-4AB2F0BABB3C}" srcOrd="3" destOrd="0" parTransId="{2CB3BDFB-8D1F-4C0E-A29B-4DD5D30F74A7}" sibTransId="{FAA6E0B1-94F1-49F1-AE91-A188BCB76C27}"/>
    <dgm:cxn modelId="{3A9808CF-6A46-4741-9658-F2637DFD9147}" type="presOf" srcId="{BDDD2521-7598-4DD1-B41E-2F109E515C0E}" destId="{BD36CCA7-EEC6-4E2B-BFCC-CAB7FF8F9EBA}" srcOrd="0" destOrd="0" presId="urn:microsoft.com/office/officeart/2005/8/layout/vList2"/>
    <dgm:cxn modelId="{51FA3AEB-3B4E-4641-9333-3DBDFC1C9851}" type="presOf" srcId="{0D5644E7-E1D8-43AF-BF9F-2DC91240382A}" destId="{8E8248C2-EACF-45CA-9543-1C1C2592F8F4}" srcOrd="0" destOrd="0" presId="urn:microsoft.com/office/officeart/2005/8/layout/vList2"/>
    <dgm:cxn modelId="{65D79BF8-6491-421B-8509-5969835400C1}" srcId="{CBDF2406-E98C-446A-B949-4AB2F0BABB3C}" destId="{71BEBB33-4589-4B67-BE02-3C432F993D1B}" srcOrd="0" destOrd="0" parTransId="{6322C6C3-9008-434B-9E90-8B998BCE0A72}" sibTransId="{A7D9C95A-749F-48EB-9B7D-4CD18869C78E}"/>
    <dgm:cxn modelId="{4D995456-17A5-4DAE-BBEE-149177803C41}" type="presParOf" srcId="{3E34C330-44C7-4D25-85A0-0E1081DC09AF}" destId="{2D394743-7069-4636-88CE-E0889E9C4D4D}" srcOrd="0" destOrd="0" presId="urn:microsoft.com/office/officeart/2005/8/layout/vList2"/>
    <dgm:cxn modelId="{26AE7EDC-B248-42B9-918F-D2FD26D18C51}" type="presParOf" srcId="{3E34C330-44C7-4D25-85A0-0E1081DC09AF}" destId="{3C9AF206-4D14-479D-94B8-56EE8D53E2AE}" srcOrd="1" destOrd="0" presId="urn:microsoft.com/office/officeart/2005/8/layout/vList2"/>
    <dgm:cxn modelId="{63A597A5-A544-4191-A69D-5728BEDD1050}" type="presParOf" srcId="{3E34C330-44C7-4D25-85A0-0E1081DC09AF}" destId="{8E0E21CB-CD63-4AD1-A980-762B41645792}" srcOrd="2" destOrd="0" presId="urn:microsoft.com/office/officeart/2005/8/layout/vList2"/>
    <dgm:cxn modelId="{9C2385D0-21C1-4B10-9D9B-096EE4C4D3DF}" type="presParOf" srcId="{3E34C330-44C7-4D25-85A0-0E1081DC09AF}" destId="{93ADED32-AD1F-4680-964F-313761D1C96B}" srcOrd="3" destOrd="0" presId="urn:microsoft.com/office/officeart/2005/8/layout/vList2"/>
    <dgm:cxn modelId="{043F5297-D6A4-4958-AADF-D59D21180EA8}" type="presParOf" srcId="{3E34C330-44C7-4D25-85A0-0E1081DC09AF}" destId="{FF6D8443-B27E-4C43-8215-7BA379D133F9}" srcOrd="4" destOrd="0" presId="urn:microsoft.com/office/officeart/2005/8/layout/vList2"/>
    <dgm:cxn modelId="{3D59168A-FE60-4FAF-B5F5-C0FE4FFD5C41}" type="presParOf" srcId="{3E34C330-44C7-4D25-85A0-0E1081DC09AF}" destId="{8E8248C2-EACF-45CA-9543-1C1C2592F8F4}" srcOrd="5" destOrd="0" presId="urn:microsoft.com/office/officeart/2005/8/layout/vList2"/>
    <dgm:cxn modelId="{392FA561-42C8-497D-8C6D-EB3CC4E2E3A2}" type="presParOf" srcId="{3E34C330-44C7-4D25-85A0-0E1081DC09AF}" destId="{01C66945-7F78-49A4-8511-CB81A4B110FA}" srcOrd="6" destOrd="0" presId="urn:microsoft.com/office/officeart/2005/8/layout/vList2"/>
    <dgm:cxn modelId="{5FF6FBEB-AF26-4A88-841A-743B818FB73A}" type="presParOf" srcId="{3E34C330-44C7-4D25-85A0-0E1081DC09AF}" destId="{5BC0C380-D9EB-44C5-BF0B-852A3B13EE51}" srcOrd="7" destOrd="0" presId="urn:microsoft.com/office/officeart/2005/8/layout/vList2"/>
    <dgm:cxn modelId="{3ABC49EF-EDC5-497E-9EED-E8A510DAE8AA}" type="presParOf" srcId="{3E34C330-44C7-4D25-85A0-0E1081DC09AF}" destId="{BD36CCA7-EEC6-4E2B-BFCC-CAB7FF8F9EBA}"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94F92DD-84F3-4CB5-BCA0-EA7F4D0B8D0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5212731E-E91E-4AB5-98A5-EA542C3499EE}">
      <dgm:prSet/>
      <dgm:spPr/>
      <dgm:t>
        <a:bodyPr/>
        <a:lstStyle/>
        <a:p>
          <a:r>
            <a:rPr lang="en-US" dirty="0"/>
            <a:t>Get-</a:t>
          </a:r>
          <a:r>
            <a:rPr lang="en-US" dirty="0" err="1"/>
            <a:t>SPODeletedSite</a:t>
          </a:r>
          <a:endParaRPr lang="nb-NO" dirty="0"/>
        </a:p>
      </dgm:t>
    </dgm:pt>
    <dgm:pt modelId="{6E186FA5-F8C5-4142-A572-31D34A8F58A3}" type="parTrans" cxnId="{39A9ECDF-3E52-45CF-9D19-529FE394B573}">
      <dgm:prSet/>
      <dgm:spPr/>
      <dgm:t>
        <a:bodyPr/>
        <a:lstStyle/>
        <a:p>
          <a:endParaRPr lang="en-US"/>
        </a:p>
      </dgm:t>
    </dgm:pt>
    <dgm:pt modelId="{EB4E1EE2-8F19-4F6D-A06A-F065E7EDF9B2}" type="sibTrans" cxnId="{39A9ECDF-3E52-45CF-9D19-529FE394B573}">
      <dgm:prSet/>
      <dgm:spPr/>
      <dgm:t>
        <a:bodyPr/>
        <a:lstStyle/>
        <a:p>
          <a:endParaRPr lang="en-US"/>
        </a:p>
      </dgm:t>
    </dgm:pt>
    <dgm:pt modelId="{F1567EE9-8AE0-4405-9048-EA1AE5AC071C}">
      <dgm:prSet/>
      <dgm:spPr/>
      <dgm:t>
        <a:bodyPr/>
        <a:lstStyle/>
        <a:p>
          <a:r>
            <a:rPr lang="en-US" dirty="0"/>
            <a:t>Get-</a:t>
          </a:r>
          <a:r>
            <a:rPr lang="en-US" dirty="0" err="1"/>
            <a:t>SPODeletedSite</a:t>
          </a:r>
          <a:r>
            <a:rPr lang="en-US" dirty="0"/>
            <a:t> -Identity </a:t>
          </a:r>
          <a:r>
            <a:rPr lang="en-US" dirty="0">
              <a:hlinkClick xmlns:r="http://schemas.openxmlformats.org/officeDocument/2006/relationships" r:id="rId1"/>
            </a:rPr>
            <a:t>http://contoso.sharepoint.com/sites/marketing</a:t>
          </a:r>
          <a:r>
            <a:rPr lang="en-US" dirty="0"/>
            <a:t>  </a:t>
          </a:r>
          <a:endParaRPr lang="nb-NO" dirty="0"/>
        </a:p>
      </dgm:t>
    </dgm:pt>
    <dgm:pt modelId="{49278E39-0AA7-408F-9935-5BB2C81C3490}" type="parTrans" cxnId="{69C9AB26-A807-4E5F-BADF-0FC4B81AB881}">
      <dgm:prSet/>
      <dgm:spPr/>
      <dgm:t>
        <a:bodyPr/>
        <a:lstStyle/>
        <a:p>
          <a:endParaRPr lang="en-US"/>
        </a:p>
      </dgm:t>
    </dgm:pt>
    <dgm:pt modelId="{1346780F-4466-417B-811B-C96F5A397363}" type="sibTrans" cxnId="{69C9AB26-A807-4E5F-BADF-0FC4B81AB881}">
      <dgm:prSet/>
      <dgm:spPr/>
      <dgm:t>
        <a:bodyPr/>
        <a:lstStyle/>
        <a:p>
          <a:endParaRPr lang="en-US"/>
        </a:p>
      </dgm:t>
    </dgm:pt>
    <dgm:pt modelId="{046A9A13-8F96-44F5-86E7-95E3695A07F3}">
      <dgm:prSet/>
      <dgm:spPr/>
      <dgm:t>
        <a:bodyPr/>
        <a:lstStyle/>
        <a:p>
          <a:r>
            <a:rPr lang="en-US" dirty="0"/>
            <a:t>Restore-</a:t>
          </a:r>
          <a:r>
            <a:rPr lang="en-US" dirty="0" err="1"/>
            <a:t>SPODeletedSite</a:t>
          </a:r>
          <a:endParaRPr lang="nb-NO" dirty="0"/>
        </a:p>
      </dgm:t>
    </dgm:pt>
    <dgm:pt modelId="{1DE9DB64-E480-44BF-9D45-4D595C5EB898}" type="parTrans" cxnId="{C1BBEA76-D07A-4631-9D45-54F6FAE5CF42}">
      <dgm:prSet/>
      <dgm:spPr/>
      <dgm:t>
        <a:bodyPr/>
        <a:lstStyle/>
        <a:p>
          <a:endParaRPr lang="en-US"/>
        </a:p>
      </dgm:t>
    </dgm:pt>
    <dgm:pt modelId="{67A19542-8EE8-4660-AAD0-CCE12DC75EF1}" type="sibTrans" cxnId="{C1BBEA76-D07A-4631-9D45-54F6FAE5CF42}">
      <dgm:prSet/>
      <dgm:spPr/>
      <dgm:t>
        <a:bodyPr/>
        <a:lstStyle/>
        <a:p>
          <a:endParaRPr lang="en-US"/>
        </a:p>
      </dgm:t>
    </dgm:pt>
    <dgm:pt modelId="{0F833502-576A-4E64-B175-EB5CAFEAF6E0}">
      <dgm:prSet/>
      <dgm:spPr/>
      <dgm:t>
        <a:bodyPr/>
        <a:lstStyle/>
        <a:p>
          <a:r>
            <a:rPr lang="en-US" dirty="0"/>
            <a:t>Restore-</a:t>
          </a:r>
          <a:r>
            <a:rPr lang="en-US" dirty="0" err="1"/>
            <a:t>SPODeletedSite</a:t>
          </a:r>
          <a:r>
            <a:rPr lang="en-US" dirty="0"/>
            <a:t> -Identity </a:t>
          </a:r>
          <a:r>
            <a:rPr lang="en-US" dirty="0">
              <a:hlinkClick xmlns:r="http://schemas.openxmlformats.org/officeDocument/2006/relationships" r:id="rId2"/>
            </a:rPr>
            <a:t>https://contoso.sharepoint.com/sites/marketing</a:t>
          </a:r>
          <a:endParaRPr lang="nb-NO" dirty="0"/>
        </a:p>
      </dgm:t>
    </dgm:pt>
    <dgm:pt modelId="{F211CD7D-8654-4E1B-B93E-EB0898A95998}" type="parTrans" cxnId="{D605BB33-B71C-4662-899E-B0E5675538D3}">
      <dgm:prSet/>
      <dgm:spPr/>
      <dgm:t>
        <a:bodyPr/>
        <a:lstStyle/>
        <a:p>
          <a:endParaRPr lang="en-US"/>
        </a:p>
      </dgm:t>
    </dgm:pt>
    <dgm:pt modelId="{931DFDBE-C323-4568-8A27-FD64B05DE08B}" type="sibTrans" cxnId="{D605BB33-B71C-4662-899E-B0E5675538D3}">
      <dgm:prSet/>
      <dgm:spPr/>
      <dgm:t>
        <a:bodyPr/>
        <a:lstStyle/>
        <a:p>
          <a:endParaRPr lang="en-US"/>
        </a:p>
      </dgm:t>
    </dgm:pt>
    <dgm:pt modelId="{BF392F9C-979A-4A58-BFBE-367F8DCFC3CA}">
      <dgm:prSet/>
      <dgm:spPr/>
      <dgm:t>
        <a:bodyPr/>
        <a:lstStyle/>
        <a:p>
          <a:r>
            <a:rPr lang="en-US" dirty="0"/>
            <a:t>Remove-</a:t>
          </a:r>
          <a:r>
            <a:rPr lang="en-US" dirty="0" err="1"/>
            <a:t>SPODeletedSite</a:t>
          </a:r>
          <a:endParaRPr lang="nb-NO" dirty="0"/>
        </a:p>
      </dgm:t>
    </dgm:pt>
    <dgm:pt modelId="{62ABFB68-1DEC-4C7C-9AE7-1C1E4F37E679}" type="parTrans" cxnId="{13F445D5-4473-418E-99DE-BF24AC7EE8A0}">
      <dgm:prSet/>
      <dgm:spPr/>
      <dgm:t>
        <a:bodyPr/>
        <a:lstStyle/>
        <a:p>
          <a:endParaRPr lang="en-US"/>
        </a:p>
      </dgm:t>
    </dgm:pt>
    <dgm:pt modelId="{BD0E3E3E-059F-4579-918E-58CB890017E8}" type="sibTrans" cxnId="{13F445D5-4473-418E-99DE-BF24AC7EE8A0}">
      <dgm:prSet/>
      <dgm:spPr/>
      <dgm:t>
        <a:bodyPr/>
        <a:lstStyle/>
        <a:p>
          <a:endParaRPr lang="en-US"/>
        </a:p>
      </dgm:t>
    </dgm:pt>
    <dgm:pt modelId="{E3959E4F-C4A9-489C-942D-E7EA16BB83F6}">
      <dgm:prSet/>
      <dgm:spPr/>
      <dgm:t>
        <a:bodyPr/>
        <a:lstStyle/>
        <a:p>
          <a:r>
            <a:rPr lang="en-US" dirty="0"/>
            <a:t>Remove-</a:t>
          </a:r>
          <a:r>
            <a:rPr lang="en-US" dirty="0" err="1"/>
            <a:t>SPODeletedSite</a:t>
          </a:r>
          <a:r>
            <a:rPr lang="en-US" dirty="0"/>
            <a:t> -Identity </a:t>
          </a:r>
          <a:r>
            <a:rPr lang="en-US" dirty="0">
              <a:hlinkClick xmlns:r="http://schemas.openxmlformats.org/officeDocument/2006/relationships" r:id="rId3"/>
            </a:rPr>
            <a:t>https://contoso.sharepoint.com/sites/marketing</a:t>
          </a:r>
          <a:endParaRPr lang="nb-NO" dirty="0"/>
        </a:p>
      </dgm:t>
    </dgm:pt>
    <dgm:pt modelId="{9CFFED83-5DF4-4223-811F-48CA5E9D68BD}" type="parTrans" cxnId="{146A8D96-AED9-4719-9C74-4C23689B859B}">
      <dgm:prSet/>
      <dgm:spPr/>
      <dgm:t>
        <a:bodyPr/>
        <a:lstStyle/>
        <a:p>
          <a:endParaRPr lang="en-US"/>
        </a:p>
      </dgm:t>
    </dgm:pt>
    <dgm:pt modelId="{A7E29A08-8B79-412C-B79B-429F22DC07D7}" type="sibTrans" cxnId="{146A8D96-AED9-4719-9C74-4C23689B859B}">
      <dgm:prSet/>
      <dgm:spPr/>
      <dgm:t>
        <a:bodyPr/>
        <a:lstStyle/>
        <a:p>
          <a:endParaRPr lang="en-US"/>
        </a:p>
      </dgm:t>
    </dgm:pt>
    <dgm:pt modelId="{5F6BA79F-296C-4703-8CF7-696C91C8FCF4}">
      <dgm:prSet/>
      <dgm:spPr/>
      <dgm:t>
        <a:bodyPr/>
        <a:lstStyle/>
        <a:p>
          <a:r>
            <a:rPr lang="en-US" dirty="0"/>
            <a:t>Get-</a:t>
          </a:r>
          <a:r>
            <a:rPr lang="en-US" dirty="0" err="1"/>
            <a:t>SPOSite</a:t>
          </a:r>
          <a:endParaRPr lang="nb-NO" dirty="0"/>
        </a:p>
      </dgm:t>
    </dgm:pt>
    <dgm:pt modelId="{DBD0DBCD-6360-410F-AE7A-A48FA5507309}" type="parTrans" cxnId="{41BFFDA8-9C39-4197-8C4C-31F3D8F06049}">
      <dgm:prSet/>
      <dgm:spPr/>
      <dgm:t>
        <a:bodyPr/>
        <a:lstStyle/>
        <a:p>
          <a:endParaRPr lang="en-US"/>
        </a:p>
      </dgm:t>
    </dgm:pt>
    <dgm:pt modelId="{CE6A353B-F347-4D6C-886A-10245A5BA938}" type="sibTrans" cxnId="{41BFFDA8-9C39-4197-8C4C-31F3D8F06049}">
      <dgm:prSet/>
      <dgm:spPr/>
      <dgm:t>
        <a:bodyPr/>
        <a:lstStyle/>
        <a:p>
          <a:endParaRPr lang="en-US"/>
        </a:p>
      </dgm:t>
    </dgm:pt>
    <dgm:pt modelId="{A446FF01-D3B6-434C-AE34-68D616396A63}">
      <dgm:prSet/>
      <dgm:spPr/>
      <dgm:t>
        <a:bodyPr/>
        <a:lstStyle/>
        <a:p>
          <a:r>
            <a:rPr lang="en-US" dirty="0"/>
            <a:t>Get-</a:t>
          </a:r>
          <a:r>
            <a:rPr lang="en-US" dirty="0" err="1"/>
            <a:t>SPOSite</a:t>
          </a:r>
          <a:r>
            <a:rPr lang="en-US" dirty="0"/>
            <a:t> –Filter {</a:t>
          </a:r>
          <a:r>
            <a:rPr lang="en-US" dirty="0" err="1"/>
            <a:t>Url</a:t>
          </a:r>
          <a:r>
            <a:rPr lang="en-US" dirty="0"/>
            <a:t> -like “*term*”} | Ft </a:t>
          </a:r>
          <a:r>
            <a:rPr lang="en-US" dirty="0" err="1"/>
            <a:t>Url</a:t>
          </a:r>
          <a:endParaRPr lang="nb-NO" dirty="0"/>
        </a:p>
      </dgm:t>
    </dgm:pt>
    <dgm:pt modelId="{C29049FF-8D00-4BEA-9A9A-D0CFDC7F8621}" type="parTrans" cxnId="{B536EFD9-9DC9-4BC5-8390-BA01909B17A1}">
      <dgm:prSet/>
      <dgm:spPr/>
      <dgm:t>
        <a:bodyPr/>
        <a:lstStyle/>
        <a:p>
          <a:endParaRPr lang="en-US"/>
        </a:p>
      </dgm:t>
    </dgm:pt>
    <dgm:pt modelId="{3A9F0143-FAF9-442B-8A11-AE0F9E6FFBE8}" type="sibTrans" cxnId="{B536EFD9-9DC9-4BC5-8390-BA01909B17A1}">
      <dgm:prSet/>
      <dgm:spPr/>
      <dgm:t>
        <a:bodyPr/>
        <a:lstStyle/>
        <a:p>
          <a:endParaRPr lang="en-US"/>
        </a:p>
      </dgm:t>
    </dgm:pt>
    <dgm:pt modelId="{46680390-EE11-4545-AE9D-68301FA5FC9B}">
      <dgm:prSet/>
      <dgm:spPr/>
      <dgm:t>
        <a:bodyPr/>
        <a:lstStyle/>
        <a:p>
          <a:r>
            <a:rPr lang="en-US" dirty="0"/>
            <a:t>Get-</a:t>
          </a:r>
          <a:r>
            <a:rPr lang="en-US" dirty="0" err="1"/>
            <a:t>SPOSite</a:t>
          </a:r>
          <a:r>
            <a:rPr lang="en-US" dirty="0"/>
            <a:t> | ft </a:t>
          </a:r>
          <a:r>
            <a:rPr lang="en-US" dirty="0" err="1"/>
            <a:t>Url</a:t>
          </a:r>
          <a:r>
            <a:rPr lang="en-US" dirty="0"/>
            <a:t>, </a:t>
          </a:r>
          <a:r>
            <a:rPr lang="en-US" dirty="0" err="1"/>
            <a:t>CompatibilityLevel</a:t>
          </a:r>
          <a:endParaRPr lang="nb-NO" dirty="0"/>
        </a:p>
      </dgm:t>
    </dgm:pt>
    <dgm:pt modelId="{4C8F0402-3062-41FC-91C6-A2242B1BA509}" type="parTrans" cxnId="{5E6AD304-D942-4074-9ED9-AB223C19CB7A}">
      <dgm:prSet/>
      <dgm:spPr/>
      <dgm:t>
        <a:bodyPr/>
        <a:lstStyle/>
        <a:p>
          <a:endParaRPr lang="en-US"/>
        </a:p>
      </dgm:t>
    </dgm:pt>
    <dgm:pt modelId="{40C09CA1-3F33-4ACA-BE60-1505A7F34D89}" type="sibTrans" cxnId="{5E6AD304-D942-4074-9ED9-AB223C19CB7A}">
      <dgm:prSet/>
      <dgm:spPr/>
      <dgm:t>
        <a:bodyPr/>
        <a:lstStyle/>
        <a:p>
          <a:endParaRPr lang="en-US"/>
        </a:p>
      </dgm:t>
    </dgm:pt>
    <dgm:pt modelId="{4619AACE-FB0E-4312-A71F-F3303A7914F4}">
      <dgm:prSet/>
      <dgm:spPr/>
      <dgm:t>
        <a:bodyPr/>
        <a:lstStyle/>
        <a:p>
          <a:r>
            <a:rPr lang="en-US" dirty="0"/>
            <a:t>Valid operators are as follows: EQ, NE, LIKE, NOTLIKE </a:t>
          </a:r>
          <a:endParaRPr lang="nb-NO" dirty="0"/>
        </a:p>
      </dgm:t>
    </dgm:pt>
    <dgm:pt modelId="{893D970C-62DC-481A-B9BE-A5B5D6C87EA6}" type="parTrans" cxnId="{E98DFE97-6022-42AD-A274-225BE2382EF2}">
      <dgm:prSet/>
      <dgm:spPr/>
      <dgm:t>
        <a:bodyPr/>
        <a:lstStyle/>
        <a:p>
          <a:endParaRPr lang="en-US"/>
        </a:p>
      </dgm:t>
    </dgm:pt>
    <dgm:pt modelId="{27562F60-601B-4DFF-9553-B6A64559CE12}" type="sibTrans" cxnId="{E98DFE97-6022-42AD-A274-225BE2382EF2}">
      <dgm:prSet/>
      <dgm:spPr/>
      <dgm:t>
        <a:bodyPr/>
        <a:lstStyle/>
        <a:p>
          <a:endParaRPr lang="en-US"/>
        </a:p>
      </dgm:t>
    </dgm:pt>
    <dgm:pt modelId="{CAF32FBF-D049-4676-90D2-D5FD58263D8F}" type="pres">
      <dgm:prSet presAssocID="{494F92DD-84F3-4CB5-BCA0-EA7F4D0B8D05}" presName="linear" presStyleCnt="0">
        <dgm:presLayoutVars>
          <dgm:animLvl val="lvl"/>
          <dgm:resizeHandles val="exact"/>
        </dgm:presLayoutVars>
      </dgm:prSet>
      <dgm:spPr/>
    </dgm:pt>
    <dgm:pt modelId="{09BBB157-B367-41F6-A670-104C01C38D14}" type="pres">
      <dgm:prSet presAssocID="{5212731E-E91E-4AB5-98A5-EA542C3499EE}" presName="parentText" presStyleLbl="node1" presStyleIdx="0" presStyleCnt="5">
        <dgm:presLayoutVars>
          <dgm:chMax val="0"/>
          <dgm:bulletEnabled val="1"/>
        </dgm:presLayoutVars>
      </dgm:prSet>
      <dgm:spPr/>
    </dgm:pt>
    <dgm:pt modelId="{0136E2E0-E10D-4BFE-AD4C-5EB782733B36}" type="pres">
      <dgm:prSet presAssocID="{5212731E-E91E-4AB5-98A5-EA542C3499EE}" presName="childText" presStyleLbl="revTx" presStyleIdx="0" presStyleCnt="4">
        <dgm:presLayoutVars>
          <dgm:bulletEnabled val="1"/>
        </dgm:presLayoutVars>
      </dgm:prSet>
      <dgm:spPr/>
    </dgm:pt>
    <dgm:pt modelId="{465F25E3-738A-4A41-BC13-6D86D67902D1}" type="pres">
      <dgm:prSet presAssocID="{046A9A13-8F96-44F5-86E7-95E3695A07F3}" presName="parentText" presStyleLbl="node1" presStyleIdx="1" presStyleCnt="5">
        <dgm:presLayoutVars>
          <dgm:chMax val="0"/>
          <dgm:bulletEnabled val="1"/>
        </dgm:presLayoutVars>
      </dgm:prSet>
      <dgm:spPr/>
    </dgm:pt>
    <dgm:pt modelId="{9A5593A6-D2F6-411F-B4D5-3E440E9C527E}" type="pres">
      <dgm:prSet presAssocID="{046A9A13-8F96-44F5-86E7-95E3695A07F3}" presName="childText" presStyleLbl="revTx" presStyleIdx="1" presStyleCnt="4">
        <dgm:presLayoutVars>
          <dgm:bulletEnabled val="1"/>
        </dgm:presLayoutVars>
      </dgm:prSet>
      <dgm:spPr/>
    </dgm:pt>
    <dgm:pt modelId="{2B74C28D-C207-4FDA-9ADA-E640CDB98A0A}" type="pres">
      <dgm:prSet presAssocID="{BF392F9C-979A-4A58-BFBE-367F8DCFC3CA}" presName="parentText" presStyleLbl="node1" presStyleIdx="2" presStyleCnt="5">
        <dgm:presLayoutVars>
          <dgm:chMax val="0"/>
          <dgm:bulletEnabled val="1"/>
        </dgm:presLayoutVars>
      </dgm:prSet>
      <dgm:spPr/>
    </dgm:pt>
    <dgm:pt modelId="{6103D95B-B6B7-4876-B92A-8044F5DBE45B}" type="pres">
      <dgm:prSet presAssocID="{BF392F9C-979A-4A58-BFBE-367F8DCFC3CA}" presName="childText" presStyleLbl="revTx" presStyleIdx="2" presStyleCnt="4">
        <dgm:presLayoutVars>
          <dgm:bulletEnabled val="1"/>
        </dgm:presLayoutVars>
      </dgm:prSet>
      <dgm:spPr/>
    </dgm:pt>
    <dgm:pt modelId="{5D4AEC91-4304-49DB-8ED2-EB89EBA97B33}" type="pres">
      <dgm:prSet presAssocID="{5F6BA79F-296C-4703-8CF7-696C91C8FCF4}" presName="parentText" presStyleLbl="node1" presStyleIdx="3" presStyleCnt="5">
        <dgm:presLayoutVars>
          <dgm:chMax val="0"/>
          <dgm:bulletEnabled val="1"/>
        </dgm:presLayoutVars>
      </dgm:prSet>
      <dgm:spPr/>
    </dgm:pt>
    <dgm:pt modelId="{34C19BE3-8139-4707-BA11-18703F2F6C9F}" type="pres">
      <dgm:prSet presAssocID="{5F6BA79F-296C-4703-8CF7-696C91C8FCF4}" presName="childText" presStyleLbl="revTx" presStyleIdx="3" presStyleCnt="4">
        <dgm:presLayoutVars>
          <dgm:bulletEnabled val="1"/>
        </dgm:presLayoutVars>
      </dgm:prSet>
      <dgm:spPr/>
    </dgm:pt>
    <dgm:pt modelId="{AF642AD7-B011-44D7-AAA9-F71858B9DF01}" type="pres">
      <dgm:prSet presAssocID="{4619AACE-FB0E-4312-A71F-F3303A7914F4}" presName="parentText" presStyleLbl="node1" presStyleIdx="4" presStyleCnt="5">
        <dgm:presLayoutVars>
          <dgm:chMax val="0"/>
          <dgm:bulletEnabled val="1"/>
        </dgm:presLayoutVars>
      </dgm:prSet>
      <dgm:spPr/>
    </dgm:pt>
  </dgm:ptLst>
  <dgm:cxnLst>
    <dgm:cxn modelId="{5E6AD304-D942-4074-9ED9-AB223C19CB7A}" srcId="{5F6BA79F-296C-4703-8CF7-696C91C8FCF4}" destId="{46680390-EE11-4545-AE9D-68301FA5FC9B}" srcOrd="1" destOrd="0" parTransId="{4C8F0402-3062-41FC-91C6-A2242B1BA509}" sibTransId="{40C09CA1-3F33-4ACA-BE60-1505A7F34D89}"/>
    <dgm:cxn modelId="{69C9AB26-A807-4E5F-BADF-0FC4B81AB881}" srcId="{5212731E-E91E-4AB5-98A5-EA542C3499EE}" destId="{F1567EE9-8AE0-4405-9048-EA1AE5AC071C}" srcOrd="0" destOrd="0" parTransId="{49278E39-0AA7-408F-9935-5BB2C81C3490}" sibTransId="{1346780F-4466-417B-811B-C96F5A397363}"/>
    <dgm:cxn modelId="{D605BB33-B71C-4662-899E-B0E5675538D3}" srcId="{046A9A13-8F96-44F5-86E7-95E3695A07F3}" destId="{0F833502-576A-4E64-B175-EB5CAFEAF6E0}" srcOrd="0" destOrd="0" parTransId="{F211CD7D-8654-4E1B-B93E-EB0898A95998}" sibTransId="{931DFDBE-C323-4568-8A27-FD64B05DE08B}"/>
    <dgm:cxn modelId="{6165BC5F-50F0-4CE7-A931-A38316205E33}" type="presOf" srcId="{5F6BA79F-296C-4703-8CF7-696C91C8FCF4}" destId="{5D4AEC91-4304-49DB-8ED2-EB89EBA97B33}" srcOrd="0" destOrd="0" presId="urn:microsoft.com/office/officeart/2005/8/layout/vList2"/>
    <dgm:cxn modelId="{4F14FF62-12A3-4329-954C-E030176E67D2}" type="presOf" srcId="{A446FF01-D3B6-434C-AE34-68D616396A63}" destId="{34C19BE3-8139-4707-BA11-18703F2F6C9F}" srcOrd="0" destOrd="0" presId="urn:microsoft.com/office/officeart/2005/8/layout/vList2"/>
    <dgm:cxn modelId="{60E3A16C-F105-4472-9AD2-B0EBDD88477C}" type="presOf" srcId="{046A9A13-8F96-44F5-86E7-95E3695A07F3}" destId="{465F25E3-738A-4A41-BC13-6D86D67902D1}" srcOrd="0" destOrd="0" presId="urn:microsoft.com/office/officeart/2005/8/layout/vList2"/>
    <dgm:cxn modelId="{C1BBEA76-D07A-4631-9D45-54F6FAE5CF42}" srcId="{494F92DD-84F3-4CB5-BCA0-EA7F4D0B8D05}" destId="{046A9A13-8F96-44F5-86E7-95E3695A07F3}" srcOrd="1" destOrd="0" parTransId="{1DE9DB64-E480-44BF-9D45-4D595C5EB898}" sibTransId="{67A19542-8EE8-4660-AAD0-CCE12DC75EF1}"/>
    <dgm:cxn modelId="{911B7F81-4039-4F39-961A-4AEF75F0C206}" type="presOf" srcId="{0F833502-576A-4E64-B175-EB5CAFEAF6E0}" destId="{9A5593A6-D2F6-411F-B4D5-3E440E9C527E}" srcOrd="0" destOrd="0" presId="urn:microsoft.com/office/officeart/2005/8/layout/vList2"/>
    <dgm:cxn modelId="{4C94C68A-E6B8-478B-BDDC-F16FF43E32DA}" type="presOf" srcId="{E3959E4F-C4A9-489C-942D-E7EA16BB83F6}" destId="{6103D95B-B6B7-4876-B92A-8044F5DBE45B}" srcOrd="0" destOrd="0" presId="urn:microsoft.com/office/officeart/2005/8/layout/vList2"/>
    <dgm:cxn modelId="{83D8838F-0878-47D6-9B6A-F2A643FFF9AB}" type="presOf" srcId="{5212731E-E91E-4AB5-98A5-EA542C3499EE}" destId="{09BBB157-B367-41F6-A670-104C01C38D14}" srcOrd="0" destOrd="0" presId="urn:microsoft.com/office/officeart/2005/8/layout/vList2"/>
    <dgm:cxn modelId="{146A8D96-AED9-4719-9C74-4C23689B859B}" srcId="{BF392F9C-979A-4A58-BFBE-367F8DCFC3CA}" destId="{E3959E4F-C4A9-489C-942D-E7EA16BB83F6}" srcOrd="0" destOrd="0" parTransId="{9CFFED83-5DF4-4223-811F-48CA5E9D68BD}" sibTransId="{A7E29A08-8B79-412C-B79B-429F22DC07D7}"/>
    <dgm:cxn modelId="{E98DFE97-6022-42AD-A274-225BE2382EF2}" srcId="{494F92DD-84F3-4CB5-BCA0-EA7F4D0B8D05}" destId="{4619AACE-FB0E-4312-A71F-F3303A7914F4}" srcOrd="4" destOrd="0" parTransId="{893D970C-62DC-481A-B9BE-A5B5D6C87EA6}" sibTransId="{27562F60-601B-4DFF-9553-B6A64559CE12}"/>
    <dgm:cxn modelId="{41BFFDA8-9C39-4197-8C4C-31F3D8F06049}" srcId="{494F92DD-84F3-4CB5-BCA0-EA7F4D0B8D05}" destId="{5F6BA79F-296C-4703-8CF7-696C91C8FCF4}" srcOrd="3" destOrd="0" parTransId="{DBD0DBCD-6360-410F-AE7A-A48FA5507309}" sibTransId="{CE6A353B-F347-4D6C-886A-10245A5BA938}"/>
    <dgm:cxn modelId="{1D91DDAB-4C34-4997-835B-9FBC17E9B572}" type="presOf" srcId="{BF392F9C-979A-4A58-BFBE-367F8DCFC3CA}" destId="{2B74C28D-C207-4FDA-9ADA-E640CDB98A0A}" srcOrd="0" destOrd="0" presId="urn:microsoft.com/office/officeart/2005/8/layout/vList2"/>
    <dgm:cxn modelId="{77981BC5-C9BF-4B31-BCEB-40911568124B}" type="presOf" srcId="{4619AACE-FB0E-4312-A71F-F3303A7914F4}" destId="{AF642AD7-B011-44D7-AAA9-F71858B9DF01}" srcOrd="0" destOrd="0" presId="urn:microsoft.com/office/officeart/2005/8/layout/vList2"/>
    <dgm:cxn modelId="{13F445D5-4473-418E-99DE-BF24AC7EE8A0}" srcId="{494F92DD-84F3-4CB5-BCA0-EA7F4D0B8D05}" destId="{BF392F9C-979A-4A58-BFBE-367F8DCFC3CA}" srcOrd="2" destOrd="0" parTransId="{62ABFB68-1DEC-4C7C-9AE7-1C1E4F37E679}" sibTransId="{BD0E3E3E-059F-4579-918E-58CB890017E8}"/>
    <dgm:cxn modelId="{6EB4B3D5-4EF0-496C-BAEB-5C53F0B30FAB}" type="presOf" srcId="{F1567EE9-8AE0-4405-9048-EA1AE5AC071C}" destId="{0136E2E0-E10D-4BFE-AD4C-5EB782733B36}" srcOrd="0" destOrd="0" presId="urn:microsoft.com/office/officeart/2005/8/layout/vList2"/>
    <dgm:cxn modelId="{5D93D6D8-B62C-49F0-8CBC-AFADBF1A5219}" type="presOf" srcId="{494F92DD-84F3-4CB5-BCA0-EA7F4D0B8D05}" destId="{CAF32FBF-D049-4676-90D2-D5FD58263D8F}" srcOrd="0" destOrd="0" presId="urn:microsoft.com/office/officeart/2005/8/layout/vList2"/>
    <dgm:cxn modelId="{B536EFD9-9DC9-4BC5-8390-BA01909B17A1}" srcId="{5F6BA79F-296C-4703-8CF7-696C91C8FCF4}" destId="{A446FF01-D3B6-434C-AE34-68D616396A63}" srcOrd="0" destOrd="0" parTransId="{C29049FF-8D00-4BEA-9A9A-D0CFDC7F8621}" sibTransId="{3A9F0143-FAF9-442B-8A11-AE0F9E6FFBE8}"/>
    <dgm:cxn modelId="{39A9ECDF-3E52-45CF-9D19-529FE394B573}" srcId="{494F92DD-84F3-4CB5-BCA0-EA7F4D0B8D05}" destId="{5212731E-E91E-4AB5-98A5-EA542C3499EE}" srcOrd="0" destOrd="0" parTransId="{6E186FA5-F8C5-4142-A572-31D34A8F58A3}" sibTransId="{EB4E1EE2-8F19-4F6D-A06A-F065E7EDF9B2}"/>
    <dgm:cxn modelId="{114AB5E0-6A23-4BDE-9337-4A1B5E8842CB}" type="presOf" srcId="{46680390-EE11-4545-AE9D-68301FA5FC9B}" destId="{34C19BE3-8139-4707-BA11-18703F2F6C9F}" srcOrd="0" destOrd="1" presId="urn:microsoft.com/office/officeart/2005/8/layout/vList2"/>
    <dgm:cxn modelId="{5933BC83-1A14-4719-89D9-E3D7B3B04952}" type="presParOf" srcId="{CAF32FBF-D049-4676-90D2-D5FD58263D8F}" destId="{09BBB157-B367-41F6-A670-104C01C38D14}" srcOrd="0" destOrd="0" presId="urn:microsoft.com/office/officeart/2005/8/layout/vList2"/>
    <dgm:cxn modelId="{A459A096-EC82-488A-A3D8-F3F243AB3A9B}" type="presParOf" srcId="{CAF32FBF-D049-4676-90D2-D5FD58263D8F}" destId="{0136E2E0-E10D-4BFE-AD4C-5EB782733B36}" srcOrd="1" destOrd="0" presId="urn:microsoft.com/office/officeart/2005/8/layout/vList2"/>
    <dgm:cxn modelId="{3E698833-C00F-45CF-B6D4-5E1D522836DC}" type="presParOf" srcId="{CAF32FBF-D049-4676-90D2-D5FD58263D8F}" destId="{465F25E3-738A-4A41-BC13-6D86D67902D1}" srcOrd="2" destOrd="0" presId="urn:microsoft.com/office/officeart/2005/8/layout/vList2"/>
    <dgm:cxn modelId="{2D7A592A-0428-405F-B567-F7EF9B1E6A71}" type="presParOf" srcId="{CAF32FBF-D049-4676-90D2-D5FD58263D8F}" destId="{9A5593A6-D2F6-411F-B4D5-3E440E9C527E}" srcOrd="3" destOrd="0" presId="urn:microsoft.com/office/officeart/2005/8/layout/vList2"/>
    <dgm:cxn modelId="{06168233-34AF-4C35-A578-2D47C960D599}" type="presParOf" srcId="{CAF32FBF-D049-4676-90D2-D5FD58263D8F}" destId="{2B74C28D-C207-4FDA-9ADA-E640CDB98A0A}" srcOrd="4" destOrd="0" presId="urn:microsoft.com/office/officeart/2005/8/layout/vList2"/>
    <dgm:cxn modelId="{424C9934-5688-4C13-89E2-D6855584DB1D}" type="presParOf" srcId="{CAF32FBF-D049-4676-90D2-D5FD58263D8F}" destId="{6103D95B-B6B7-4876-B92A-8044F5DBE45B}" srcOrd="5" destOrd="0" presId="urn:microsoft.com/office/officeart/2005/8/layout/vList2"/>
    <dgm:cxn modelId="{EA908F49-27F2-46EE-B38E-EFEFF3273442}" type="presParOf" srcId="{CAF32FBF-D049-4676-90D2-D5FD58263D8F}" destId="{5D4AEC91-4304-49DB-8ED2-EB89EBA97B33}" srcOrd="6" destOrd="0" presId="urn:microsoft.com/office/officeart/2005/8/layout/vList2"/>
    <dgm:cxn modelId="{596834BF-5A15-46B6-BA3A-2A3117AEEA49}" type="presParOf" srcId="{CAF32FBF-D049-4676-90D2-D5FD58263D8F}" destId="{34C19BE3-8139-4707-BA11-18703F2F6C9F}" srcOrd="7" destOrd="0" presId="urn:microsoft.com/office/officeart/2005/8/layout/vList2"/>
    <dgm:cxn modelId="{398BEB3E-3B79-46A4-BE7D-F02A7410CD93}" type="presParOf" srcId="{CAF32FBF-D049-4676-90D2-D5FD58263D8F}" destId="{AF642AD7-B011-44D7-AAA9-F71858B9DF01}"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90F2E88-330C-4B0B-830D-2840E58BE8C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88F413B0-C387-4951-97B6-E8C9352DBACD}">
      <dgm:prSet/>
      <dgm:spPr/>
      <dgm:t>
        <a:bodyPr/>
        <a:lstStyle/>
        <a:p>
          <a:r>
            <a:rPr lang="en-IN" baseline="0"/>
            <a:t>New-SPOSite </a:t>
          </a:r>
          <a:endParaRPr lang="en-US"/>
        </a:p>
      </dgm:t>
    </dgm:pt>
    <dgm:pt modelId="{2D6B5964-3345-48A0-ADA6-6B3F59F369DF}" type="parTrans" cxnId="{09BD8887-B1F3-4B10-A4A1-CBB834A153FB}">
      <dgm:prSet/>
      <dgm:spPr/>
      <dgm:t>
        <a:bodyPr/>
        <a:lstStyle/>
        <a:p>
          <a:endParaRPr lang="en-US"/>
        </a:p>
      </dgm:t>
    </dgm:pt>
    <dgm:pt modelId="{5E1E4135-A115-49E6-ADC4-D92A762B351C}" type="sibTrans" cxnId="{09BD8887-B1F3-4B10-A4A1-CBB834A153FB}">
      <dgm:prSet/>
      <dgm:spPr/>
      <dgm:t>
        <a:bodyPr/>
        <a:lstStyle/>
        <a:p>
          <a:endParaRPr lang="en-US"/>
        </a:p>
      </dgm:t>
    </dgm:pt>
    <dgm:pt modelId="{697AC1AA-C55D-4003-A4B4-B5582F3393C8}">
      <dgm:prSet/>
      <dgm:spPr/>
      <dgm:t>
        <a:bodyPr/>
        <a:lstStyle/>
        <a:p>
          <a:r>
            <a:rPr lang="en-IN" baseline="0" dirty="0"/>
            <a:t>Must use the pre-set managed paths (/sites or /teams) available in SharePoint Online :</a:t>
          </a:r>
          <a:endParaRPr lang="en-US" dirty="0"/>
        </a:p>
      </dgm:t>
    </dgm:pt>
    <dgm:pt modelId="{52023DFD-7A97-48FF-A41E-40C8282D3006}" type="parTrans" cxnId="{CF6B6A3D-3041-4ACC-A4A6-7F85A413A97B}">
      <dgm:prSet/>
      <dgm:spPr/>
      <dgm:t>
        <a:bodyPr/>
        <a:lstStyle/>
        <a:p>
          <a:endParaRPr lang="en-US"/>
        </a:p>
      </dgm:t>
    </dgm:pt>
    <dgm:pt modelId="{33E5650E-7C55-4335-81DD-04F6AF7F3CF8}" type="sibTrans" cxnId="{CF6B6A3D-3041-4ACC-A4A6-7F85A413A97B}">
      <dgm:prSet/>
      <dgm:spPr/>
      <dgm:t>
        <a:bodyPr/>
        <a:lstStyle/>
        <a:p>
          <a:endParaRPr lang="en-US"/>
        </a:p>
      </dgm:t>
    </dgm:pt>
    <dgm:pt modelId="{F1B0C689-E76F-440F-AAAB-4ED46CBC8E87}">
      <dgm:prSet/>
      <dgm:spPr/>
      <dgm:t>
        <a:bodyPr/>
        <a:lstStyle/>
        <a:p>
          <a:r>
            <a:rPr lang="en-IN" baseline="0" dirty="0"/>
            <a:t>-</a:t>
          </a:r>
          <a:r>
            <a:rPr lang="en-IN" b="1" baseline="0" dirty="0"/>
            <a:t>Url</a:t>
          </a:r>
          <a:r>
            <a:rPr lang="en-IN" baseline="0" dirty="0"/>
            <a:t>: Full URL of the site collection (remember to use https)</a:t>
          </a:r>
          <a:endParaRPr lang="en-US" dirty="0"/>
        </a:p>
      </dgm:t>
    </dgm:pt>
    <dgm:pt modelId="{0B678F60-45FF-43B1-81FB-7ED4E116A9E9}" type="parTrans" cxnId="{AFD8EF6E-73A1-4199-95A0-9808ECE8EA36}">
      <dgm:prSet/>
      <dgm:spPr/>
      <dgm:t>
        <a:bodyPr/>
        <a:lstStyle/>
        <a:p>
          <a:endParaRPr lang="en-US"/>
        </a:p>
      </dgm:t>
    </dgm:pt>
    <dgm:pt modelId="{0885EA7E-1C1B-401C-892E-98DF0F8CB626}" type="sibTrans" cxnId="{AFD8EF6E-73A1-4199-95A0-9808ECE8EA36}">
      <dgm:prSet/>
      <dgm:spPr/>
      <dgm:t>
        <a:bodyPr/>
        <a:lstStyle/>
        <a:p>
          <a:endParaRPr lang="en-US"/>
        </a:p>
      </dgm:t>
    </dgm:pt>
    <dgm:pt modelId="{9FA23FAC-8A24-4444-84DA-795170422960}">
      <dgm:prSet/>
      <dgm:spPr/>
      <dgm:t>
        <a:bodyPr/>
        <a:lstStyle/>
        <a:p>
          <a:r>
            <a:rPr lang="en-IN" baseline="0" dirty="0"/>
            <a:t>-</a:t>
          </a:r>
          <a:r>
            <a:rPr lang="en-IN" b="1" baseline="0" dirty="0"/>
            <a:t>Owner</a:t>
          </a:r>
          <a:r>
            <a:rPr lang="en-IN" baseline="0" dirty="0"/>
            <a:t>: Full user name of site owner (that is admin@mytenant.onmicrosoft.com)</a:t>
          </a:r>
          <a:endParaRPr lang="en-US" dirty="0"/>
        </a:p>
      </dgm:t>
    </dgm:pt>
    <dgm:pt modelId="{90F78A2D-4046-4EEB-A484-4CFD5E1F917F}" type="parTrans" cxnId="{7D435184-9AD5-4413-9B93-09CF9B7B32DA}">
      <dgm:prSet/>
      <dgm:spPr/>
      <dgm:t>
        <a:bodyPr/>
        <a:lstStyle/>
        <a:p>
          <a:endParaRPr lang="en-US"/>
        </a:p>
      </dgm:t>
    </dgm:pt>
    <dgm:pt modelId="{4C5A4F80-CFAE-49BD-8A41-93693C1EE561}" type="sibTrans" cxnId="{7D435184-9AD5-4413-9B93-09CF9B7B32DA}">
      <dgm:prSet/>
      <dgm:spPr/>
      <dgm:t>
        <a:bodyPr/>
        <a:lstStyle/>
        <a:p>
          <a:endParaRPr lang="en-US"/>
        </a:p>
      </dgm:t>
    </dgm:pt>
    <dgm:pt modelId="{2AE25DD6-BF02-4F0D-847F-84F2E22E62EB}">
      <dgm:prSet/>
      <dgm:spPr/>
      <dgm:t>
        <a:bodyPr/>
        <a:lstStyle/>
        <a:p>
          <a:r>
            <a:rPr lang="en-IN" baseline="0" dirty="0"/>
            <a:t>-</a:t>
          </a:r>
          <a:r>
            <a:rPr lang="en-IN" b="1" baseline="0" dirty="0" err="1"/>
            <a:t>StorageQuota</a:t>
          </a:r>
          <a:r>
            <a:rPr lang="en-IN" baseline="0" dirty="0"/>
            <a:t>: In MB</a:t>
          </a:r>
          <a:endParaRPr lang="en-US" dirty="0"/>
        </a:p>
      </dgm:t>
    </dgm:pt>
    <dgm:pt modelId="{4163D3E0-9282-4B10-8F81-E67907B43F54}" type="parTrans" cxnId="{2693D642-E333-430B-92EF-7691BF0A2097}">
      <dgm:prSet/>
      <dgm:spPr/>
      <dgm:t>
        <a:bodyPr/>
        <a:lstStyle/>
        <a:p>
          <a:endParaRPr lang="en-US"/>
        </a:p>
      </dgm:t>
    </dgm:pt>
    <dgm:pt modelId="{3EE42C58-5270-46D1-BC5B-13579732A9FA}" type="sibTrans" cxnId="{2693D642-E333-430B-92EF-7691BF0A2097}">
      <dgm:prSet/>
      <dgm:spPr/>
      <dgm:t>
        <a:bodyPr/>
        <a:lstStyle/>
        <a:p>
          <a:endParaRPr lang="en-US"/>
        </a:p>
      </dgm:t>
    </dgm:pt>
    <dgm:pt modelId="{FFA4B988-5544-4EDC-9C79-6B712B051381}">
      <dgm:prSet/>
      <dgm:spPr/>
      <dgm:t>
        <a:bodyPr/>
        <a:lstStyle/>
        <a:p>
          <a:r>
            <a:rPr lang="en-IN" baseline="0" dirty="0"/>
            <a:t>-</a:t>
          </a:r>
          <a:r>
            <a:rPr lang="en-IN" b="1" baseline="0" dirty="0"/>
            <a:t>Template</a:t>
          </a:r>
          <a:r>
            <a:rPr lang="en-IN" baseline="0" dirty="0"/>
            <a:t>: (Optional) for example STS#3</a:t>
          </a:r>
          <a:br>
            <a:rPr lang="en-IN" baseline="0" dirty="0"/>
          </a:br>
          <a:r>
            <a:rPr lang="en-IN" baseline="0" dirty="0"/>
            <a:t>  Use Get-</a:t>
          </a:r>
          <a:r>
            <a:rPr lang="en-IN" baseline="0" dirty="0" err="1"/>
            <a:t>SPOWebTemplate</a:t>
          </a:r>
          <a:r>
            <a:rPr lang="en-IN" baseline="0" dirty="0"/>
            <a:t> to view a list of available templates</a:t>
          </a:r>
          <a:endParaRPr lang="en-US" dirty="0"/>
        </a:p>
      </dgm:t>
    </dgm:pt>
    <dgm:pt modelId="{7A8E7657-908B-4543-A88E-D773E8529515}" type="parTrans" cxnId="{CB34AE39-A518-4CE8-A47D-F495CEAE5F10}">
      <dgm:prSet/>
      <dgm:spPr/>
      <dgm:t>
        <a:bodyPr/>
        <a:lstStyle/>
        <a:p>
          <a:endParaRPr lang="en-US"/>
        </a:p>
      </dgm:t>
    </dgm:pt>
    <dgm:pt modelId="{3E828E33-B65E-4C85-BA06-358B5A0AB483}" type="sibTrans" cxnId="{CB34AE39-A518-4CE8-A47D-F495CEAE5F10}">
      <dgm:prSet/>
      <dgm:spPr/>
      <dgm:t>
        <a:bodyPr/>
        <a:lstStyle/>
        <a:p>
          <a:endParaRPr lang="en-US"/>
        </a:p>
      </dgm:t>
    </dgm:pt>
    <dgm:pt modelId="{66B6DC0E-EBB8-424E-BD18-A05FAC53A4F3}">
      <dgm:prSet/>
      <dgm:spPr/>
      <dgm:t>
        <a:bodyPr/>
        <a:lstStyle/>
        <a:p>
          <a:r>
            <a:rPr lang="en-IN" baseline="0" dirty="0"/>
            <a:t>-</a:t>
          </a:r>
          <a:r>
            <a:rPr lang="en-IN" b="1" baseline="0" dirty="0"/>
            <a:t>Title</a:t>
          </a:r>
          <a:r>
            <a:rPr lang="en-IN" baseline="0" dirty="0"/>
            <a:t>: (Optional) Name of the site collection</a:t>
          </a:r>
          <a:endParaRPr lang="en-US" dirty="0"/>
        </a:p>
      </dgm:t>
    </dgm:pt>
    <dgm:pt modelId="{DCB7D3EB-A38C-41AA-A491-DF067D0C60E3}" type="parTrans" cxnId="{30689256-500C-4C34-A7DF-B166F13C1FA5}">
      <dgm:prSet/>
      <dgm:spPr/>
      <dgm:t>
        <a:bodyPr/>
        <a:lstStyle/>
        <a:p>
          <a:endParaRPr lang="en-US"/>
        </a:p>
      </dgm:t>
    </dgm:pt>
    <dgm:pt modelId="{5D8A21C8-C2A0-4E9E-B548-7ECB23DD258F}" type="sibTrans" cxnId="{30689256-500C-4C34-A7DF-B166F13C1FA5}">
      <dgm:prSet/>
      <dgm:spPr/>
      <dgm:t>
        <a:bodyPr/>
        <a:lstStyle/>
        <a:p>
          <a:endParaRPr lang="en-US"/>
        </a:p>
      </dgm:t>
    </dgm:pt>
    <dgm:pt modelId="{4FD42DCB-A847-454A-9A44-FCEC17DD174D}">
      <dgm:prSet/>
      <dgm:spPr/>
      <dgm:t>
        <a:bodyPr/>
        <a:lstStyle/>
        <a:p>
          <a:r>
            <a:rPr lang="en-IN" baseline="0" dirty="0"/>
            <a:t>-</a:t>
          </a:r>
          <a:r>
            <a:rPr lang="en-IN" b="1" baseline="0" dirty="0" err="1"/>
            <a:t>NoWait</a:t>
          </a:r>
          <a:r>
            <a:rPr lang="en-IN" baseline="0" dirty="0"/>
            <a:t>: Instructs Windows PowerShell not to wait until the cmdlet is finished</a:t>
          </a:r>
          <a:endParaRPr lang="en-US" dirty="0"/>
        </a:p>
      </dgm:t>
    </dgm:pt>
    <dgm:pt modelId="{8736F4CB-9C79-4C37-8041-DECAE945A6D1}" type="parTrans" cxnId="{55A89A57-67F9-4821-B78B-06A95D335202}">
      <dgm:prSet/>
      <dgm:spPr/>
      <dgm:t>
        <a:bodyPr/>
        <a:lstStyle/>
        <a:p>
          <a:endParaRPr lang="en-US"/>
        </a:p>
      </dgm:t>
    </dgm:pt>
    <dgm:pt modelId="{37184D2E-D1AB-4587-AE8E-24F44C81C726}" type="sibTrans" cxnId="{55A89A57-67F9-4821-B78B-06A95D335202}">
      <dgm:prSet/>
      <dgm:spPr/>
      <dgm:t>
        <a:bodyPr/>
        <a:lstStyle/>
        <a:p>
          <a:endParaRPr lang="en-US"/>
        </a:p>
      </dgm:t>
    </dgm:pt>
    <dgm:pt modelId="{57098FC1-952A-4D8A-A7E3-393AE9E7732D}">
      <dgm:prSet/>
      <dgm:spPr/>
      <dgm:t>
        <a:bodyPr/>
        <a:lstStyle/>
        <a:p>
          <a:r>
            <a:rPr lang="en-IN" b="0" baseline="0" dirty="0"/>
            <a:t>New-</a:t>
          </a:r>
          <a:r>
            <a:rPr lang="en-IN" b="0" baseline="0" dirty="0" err="1"/>
            <a:t>SPOSite</a:t>
          </a:r>
          <a:r>
            <a:rPr lang="en-IN" b="0" baseline="0" dirty="0"/>
            <a:t> -</a:t>
          </a:r>
          <a:r>
            <a:rPr lang="en-IN" b="0" baseline="0" dirty="0" err="1"/>
            <a:t>Url</a:t>
          </a:r>
          <a:r>
            <a:rPr lang="en-IN" b="0" baseline="0" dirty="0"/>
            <a:t> https://mytenant.sharepoint.com/sites/sitename -Owner "admin@mytenant.onmicrosoft.com" -</a:t>
          </a:r>
          <a:r>
            <a:rPr lang="en-IN" b="0" baseline="0" dirty="0" err="1"/>
            <a:t>StorageQuota</a:t>
          </a:r>
          <a:r>
            <a:rPr lang="en-IN" b="0" baseline="0" dirty="0"/>
            <a:t> "500" -</a:t>
          </a:r>
          <a:r>
            <a:rPr lang="en-IN" b="0" baseline="0" dirty="0" err="1"/>
            <a:t>NoWait</a:t>
          </a:r>
          <a:r>
            <a:rPr lang="en-IN" b="0" baseline="0" dirty="0"/>
            <a:t> -Template "STS#3" -Title "Site Title" </a:t>
          </a:r>
          <a:endParaRPr lang="en-US" dirty="0"/>
        </a:p>
      </dgm:t>
    </dgm:pt>
    <dgm:pt modelId="{6581E073-3858-464C-8973-61CB79CDF7D4}" type="parTrans" cxnId="{C7A5BEC8-4759-48A3-8A39-76DC33F288BC}">
      <dgm:prSet/>
      <dgm:spPr/>
      <dgm:t>
        <a:bodyPr/>
        <a:lstStyle/>
        <a:p>
          <a:endParaRPr lang="en-US"/>
        </a:p>
      </dgm:t>
    </dgm:pt>
    <dgm:pt modelId="{FC6915A1-AA25-4298-8104-9A0C0E2C691E}" type="sibTrans" cxnId="{C7A5BEC8-4759-48A3-8A39-76DC33F288BC}">
      <dgm:prSet/>
      <dgm:spPr/>
      <dgm:t>
        <a:bodyPr/>
        <a:lstStyle/>
        <a:p>
          <a:endParaRPr lang="en-US"/>
        </a:p>
      </dgm:t>
    </dgm:pt>
    <dgm:pt modelId="{8A189FF6-7C15-4188-9055-7C17BCE91315}">
      <dgm:prSet/>
      <dgm:spPr/>
      <dgm:t>
        <a:bodyPr/>
        <a:lstStyle/>
        <a:p>
          <a:endParaRPr lang="en-US" dirty="0"/>
        </a:p>
      </dgm:t>
    </dgm:pt>
    <dgm:pt modelId="{50A3CA77-1DEC-4899-9756-4AF9369EC4B3}" type="parTrans" cxnId="{35B6B8E2-5DB7-4291-8DA9-276AAF49EA18}">
      <dgm:prSet/>
      <dgm:spPr/>
      <dgm:t>
        <a:bodyPr/>
        <a:lstStyle/>
        <a:p>
          <a:endParaRPr lang="en-US"/>
        </a:p>
      </dgm:t>
    </dgm:pt>
    <dgm:pt modelId="{7A2E13C6-350B-4132-893F-FB3A98FFB0AA}" type="sibTrans" cxnId="{35B6B8E2-5DB7-4291-8DA9-276AAF49EA18}">
      <dgm:prSet/>
      <dgm:spPr/>
      <dgm:t>
        <a:bodyPr/>
        <a:lstStyle/>
        <a:p>
          <a:endParaRPr lang="en-US"/>
        </a:p>
      </dgm:t>
    </dgm:pt>
    <dgm:pt modelId="{2F279100-4A67-48CD-905E-A30C74E0FBD6}" type="pres">
      <dgm:prSet presAssocID="{B90F2E88-330C-4B0B-830D-2840E58BE8C3}" presName="linear" presStyleCnt="0">
        <dgm:presLayoutVars>
          <dgm:animLvl val="lvl"/>
          <dgm:resizeHandles val="exact"/>
        </dgm:presLayoutVars>
      </dgm:prSet>
      <dgm:spPr/>
    </dgm:pt>
    <dgm:pt modelId="{72807EC5-067B-4581-AA96-45E2FF1D86FC}" type="pres">
      <dgm:prSet presAssocID="{88F413B0-C387-4951-97B6-E8C9352DBACD}" presName="parentText" presStyleLbl="node1" presStyleIdx="0" presStyleCnt="2" custScaleY="65778">
        <dgm:presLayoutVars>
          <dgm:chMax val="0"/>
          <dgm:bulletEnabled val="1"/>
        </dgm:presLayoutVars>
      </dgm:prSet>
      <dgm:spPr/>
    </dgm:pt>
    <dgm:pt modelId="{720D949F-431F-43DD-A9AB-4EE27451EB17}" type="pres">
      <dgm:prSet presAssocID="{88F413B0-C387-4951-97B6-E8C9352DBACD}" presName="childText" presStyleLbl="revTx" presStyleIdx="0" presStyleCnt="1">
        <dgm:presLayoutVars>
          <dgm:bulletEnabled val="1"/>
        </dgm:presLayoutVars>
      </dgm:prSet>
      <dgm:spPr/>
    </dgm:pt>
    <dgm:pt modelId="{C4214724-6C28-42DC-A82F-6C9DF1A00D47}" type="pres">
      <dgm:prSet presAssocID="{57098FC1-952A-4D8A-A7E3-393AE9E7732D}" presName="parentText" presStyleLbl="node1" presStyleIdx="1" presStyleCnt="2">
        <dgm:presLayoutVars>
          <dgm:chMax val="0"/>
          <dgm:bulletEnabled val="1"/>
        </dgm:presLayoutVars>
      </dgm:prSet>
      <dgm:spPr/>
    </dgm:pt>
  </dgm:ptLst>
  <dgm:cxnLst>
    <dgm:cxn modelId="{DC15C306-F883-4DC7-A476-7727BA82EB36}" type="presOf" srcId="{4FD42DCB-A847-454A-9A44-FCEC17DD174D}" destId="{720D949F-431F-43DD-A9AB-4EE27451EB17}" srcOrd="0" destOrd="6" presId="urn:microsoft.com/office/officeart/2005/8/layout/vList2"/>
    <dgm:cxn modelId="{CB34AE39-A518-4CE8-A47D-F495CEAE5F10}" srcId="{697AC1AA-C55D-4003-A4B4-B5582F3393C8}" destId="{FFA4B988-5544-4EDC-9C79-6B712B051381}" srcOrd="3" destOrd="0" parTransId="{7A8E7657-908B-4543-A88E-D773E8529515}" sibTransId="{3E828E33-B65E-4C85-BA06-358B5A0AB483}"/>
    <dgm:cxn modelId="{61C7443A-7E28-45B1-9BE2-3EB9E49EF7D2}" type="presOf" srcId="{2AE25DD6-BF02-4F0D-847F-84F2E22E62EB}" destId="{720D949F-431F-43DD-A9AB-4EE27451EB17}" srcOrd="0" destOrd="3" presId="urn:microsoft.com/office/officeart/2005/8/layout/vList2"/>
    <dgm:cxn modelId="{DA4A423D-9C25-43C4-B606-869A77A73D5C}" type="presOf" srcId="{B90F2E88-330C-4B0B-830D-2840E58BE8C3}" destId="{2F279100-4A67-48CD-905E-A30C74E0FBD6}" srcOrd="0" destOrd="0" presId="urn:microsoft.com/office/officeart/2005/8/layout/vList2"/>
    <dgm:cxn modelId="{CF6B6A3D-3041-4ACC-A4A6-7F85A413A97B}" srcId="{88F413B0-C387-4951-97B6-E8C9352DBACD}" destId="{697AC1AA-C55D-4003-A4B4-B5582F3393C8}" srcOrd="0" destOrd="0" parTransId="{52023DFD-7A97-48FF-A41E-40C8282D3006}" sibTransId="{33E5650E-7C55-4335-81DD-04F6AF7F3CF8}"/>
    <dgm:cxn modelId="{4DC93E61-95F4-43F2-9199-9F37C2EF3975}" type="presOf" srcId="{F1B0C689-E76F-440F-AAAB-4ED46CBC8E87}" destId="{720D949F-431F-43DD-A9AB-4EE27451EB17}" srcOrd="0" destOrd="1" presId="urn:microsoft.com/office/officeart/2005/8/layout/vList2"/>
    <dgm:cxn modelId="{2693D642-E333-430B-92EF-7691BF0A2097}" srcId="{697AC1AA-C55D-4003-A4B4-B5582F3393C8}" destId="{2AE25DD6-BF02-4F0D-847F-84F2E22E62EB}" srcOrd="2" destOrd="0" parTransId="{4163D3E0-9282-4B10-8F81-E67907B43F54}" sibTransId="{3EE42C58-5270-46D1-BC5B-13579732A9FA}"/>
    <dgm:cxn modelId="{E04C5B4C-E325-4C09-A0C9-01F01F3A295C}" type="presOf" srcId="{8A189FF6-7C15-4188-9055-7C17BCE91315}" destId="{720D949F-431F-43DD-A9AB-4EE27451EB17}" srcOrd="0" destOrd="7" presId="urn:microsoft.com/office/officeart/2005/8/layout/vList2"/>
    <dgm:cxn modelId="{AFD8EF6E-73A1-4199-95A0-9808ECE8EA36}" srcId="{697AC1AA-C55D-4003-A4B4-B5582F3393C8}" destId="{F1B0C689-E76F-440F-AAAB-4ED46CBC8E87}" srcOrd="0" destOrd="0" parTransId="{0B678F60-45FF-43B1-81FB-7ED4E116A9E9}" sibTransId="{0885EA7E-1C1B-401C-892E-98DF0F8CB626}"/>
    <dgm:cxn modelId="{F6515C70-2843-41BC-A744-EC2EF179A76B}" type="presOf" srcId="{697AC1AA-C55D-4003-A4B4-B5582F3393C8}" destId="{720D949F-431F-43DD-A9AB-4EE27451EB17}" srcOrd="0" destOrd="0" presId="urn:microsoft.com/office/officeart/2005/8/layout/vList2"/>
    <dgm:cxn modelId="{30689256-500C-4C34-A7DF-B166F13C1FA5}" srcId="{697AC1AA-C55D-4003-A4B4-B5582F3393C8}" destId="{66B6DC0E-EBB8-424E-BD18-A05FAC53A4F3}" srcOrd="4" destOrd="0" parTransId="{DCB7D3EB-A38C-41AA-A491-DF067D0C60E3}" sibTransId="{5D8A21C8-C2A0-4E9E-B548-7ECB23DD258F}"/>
    <dgm:cxn modelId="{55A89A57-67F9-4821-B78B-06A95D335202}" srcId="{697AC1AA-C55D-4003-A4B4-B5582F3393C8}" destId="{4FD42DCB-A847-454A-9A44-FCEC17DD174D}" srcOrd="5" destOrd="0" parTransId="{8736F4CB-9C79-4C37-8041-DECAE945A6D1}" sibTransId="{37184D2E-D1AB-4587-AE8E-24F44C81C726}"/>
    <dgm:cxn modelId="{7D435184-9AD5-4413-9B93-09CF9B7B32DA}" srcId="{697AC1AA-C55D-4003-A4B4-B5582F3393C8}" destId="{9FA23FAC-8A24-4444-84DA-795170422960}" srcOrd="1" destOrd="0" parTransId="{90F78A2D-4046-4EEB-A484-4CFD5E1F917F}" sibTransId="{4C5A4F80-CFAE-49BD-8A41-93693C1EE561}"/>
    <dgm:cxn modelId="{09BD8887-B1F3-4B10-A4A1-CBB834A153FB}" srcId="{B90F2E88-330C-4B0B-830D-2840E58BE8C3}" destId="{88F413B0-C387-4951-97B6-E8C9352DBACD}" srcOrd="0" destOrd="0" parTransId="{2D6B5964-3345-48A0-ADA6-6B3F59F369DF}" sibTransId="{5E1E4135-A115-49E6-ADC4-D92A762B351C}"/>
    <dgm:cxn modelId="{A652548B-75AC-4C22-A5E0-258D3EDBCE17}" type="presOf" srcId="{9FA23FAC-8A24-4444-84DA-795170422960}" destId="{720D949F-431F-43DD-A9AB-4EE27451EB17}" srcOrd="0" destOrd="2" presId="urn:microsoft.com/office/officeart/2005/8/layout/vList2"/>
    <dgm:cxn modelId="{EC9E598F-F7FD-471B-8861-3445578BEDF8}" type="presOf" srcId="{FFA4B988-5544-4EDC-9C79-6B712B051381}" destId="{720D949F-431F-43DD-A9AB-4EE27451EB17}" srcOrd="0" destOrd="4" presId="urn:microsoft.com/office/officeart/2005/8/layout/vList2"/>
    <dgm:cxn modelId="{E11B23B5-B6C8-4C68-B4CB-517C725C487B}" type="presOf" srcId="{57098FC1-952A-4D8A-A7E3-393AE9E7732D}" destId="{C4214724-6C28-42DC-A82F-6C9DF1A00D47}" srcOrd="0" destOrd="0" presId="urn:microsoft.com/office/officeart/2005/8/layout/vList2"/>
    <dgm:cxn modelId="{432374B5-27AB-4FC8-B35B-A3AF14DFA46B}" type="presOf" srcId="{88F413B0-C387-4951-97B6-E8C9352DBACD}" destId="{72807EC5-067B-4581-AA96-45E2FF1D86FC}" srcOrd="0" destOrd="0" presId="urn:microsoft.com/office/officeart/2005/8/layout/vList2"/>
    <dgm:cxn modelId="{4E8435C1-1C82-491A-A042-B5509E86C41E}" type="presOf" srcId="{66B6DC0E-EBB8-424E-BD18-A05FAC53A4F3}" destId="{720D949F-431F-43DD-A9AB-4EE27451EB17}" srcOrd="0" destOrd="5" presId="urn:microsoft.com/office/officeart/2005/8/layout/vList2"/>
    <dgm:cxn modelId="{C7A5BEC8-4759-48A3-8A39-76DC33F288BC}" srcId="{B90F2E88-330C-4B0B-830D-2840E58BE8C3}" destId="{57098FC1-952A-4D8A-A7E3-393AE9E7732D}" srcOrd="1" destOrd="0" parTransId="{6581E073-3858-464C-8973-61CB79CDF7D4}" sibTransId="{FC6915A1-AA25-4298-8104-9A0C0E2C691E}"/>
    <dgm:cxn modelId="{35B6B8E2-5DB7-4291-8DA9-276AAF49EA18}" srcId="{697AC1AA-C55D-4003-A4B4-B5582F3393C8}" destId="{8A189FF6-7C15-4188-9055-7C17BCE91315}" srcOrd="6" destOrd="0" parTransId="{50A3CA77-1DEC-4899-9756-4AF9369EC4B3}" sibTransId="{7A2E13C6-350B-4132-893F-FB3A98FFB0AA}"/>
    <dgm:cxn modelId="{0FB7FFD6-55F9-48C3-AF9A-E6E7E9BE0864}" type="presParOf" srcId="{2F279100-4A67-48CD-905E-A30C74E0FBD6}" destId="{72807EC5-067B-4581-AA96-45E2FF1D86FC}" srcOrd="0" destOrd="0" presId="urn:microsoft.com/office/officeart/2005/8/layout/vList2"/>
    <dgm:cxn modelId="{BBB83EE2-6A06-47B1-8079-B8C1BB9BD898}" type="presParOf" srcId="{2F279100-4A67-48CD-905E-A30C74E0FBD6}" destId="{720D949F-431F-43DD-A9AB-4EE27451EB17}" srcOrd="1" destOrd="0" presId="urn:microsoft.com/office/officeart/2005/8/layout/vList2"/>
    <dgm:cxn modelId="{29CDF41E-4F37-4CCC-8BB5-29CC3087A163}" type="presParOf" srcId="{2F279100-4A67-48CD-905E-A30C74E0FBD6}" destId="{C4214724-6C28-42DC-A82F-6C9DF1A00D4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C00C78E-9CD7-4CC8-8579-C5CD9030DA22}"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D863647E-2422-45B2-A33F-C161CF0D405D}">
      <dgm:prSet custT="1"/>
      <dgm:spPr/>
      <dgm:t>
        <a:bodyPr/>
        <a:lstStyle/>
        <a:p>
          <a:r>
            <a:rPr lang="en-US" sz="2400" dirty="0" err="1"/>
            <a:t>SharingAllowedDomainList</a:t>
          </a:r>
          <a:br>
            <a:rPr lang="en-US" sz="2400" dirty="0"/>
          </a:br>
          <a:r>
            <a:rPr lang="en-US" sz="2400" dirty="0" err="1"/>
            <a:t>SharingBlockedDomainList</a:t>
          </a:r>
          <a:endParaRPr lang="nb-NO" sz="2400" dirty="0"/>
        </a:p>
      </dgm:t>
    </dgm:pt>
    <dgm:pt modelId="{04142C6A-B671-474B-A4FC-C51AC245C8B1}" type="parTrans" cxnId="{CED58058-4A85-4A44-A5E9-A4C4E131C0C0}">
      <dgm:prSet/>
      <dgm:spPr/>
      <dgm:t>
        <a:bodyPr/>
        <a:lstStyle/>
        <a:p>
          <a:endParaRPr lang="en-US"/>
        </a:p>
      </dgm:t>
    </dgm:pt>
    <dgm:pt modelId="{A0D0E175-B6A2-4C29-83B9-0E1E2F151651}" type="sibTrans" cxnId="{CED58058-4A85-4A44-A5E9-A4C4E131C0C0}">
      <dgm:prSet/>
      <dgm:spPr/>
      <dgm:t>
        <a:bodyPr/>
        <a:lstStyle/>
        <a:p>
          <a:endParaRPr lang="en-US"/>
        </a:p>
      </dgm:t>
    </dgm:pt>
    <dgm:pt modelId="{BB5682F5-8139-4ED3-8D04-9AB097D7E353}">
      <dgm:prSet custT="1"/>
      <dgm:spPr/>
      <dgm:t>
        <a:bodyPr/>
        <a:lstStyle/>
        <a:p>
          <a:r>
            <a:rPr lang="en-US" sz="2400" dirty="0" err="1"/>
            <a:t>DisableCompanyWideSharingLinks</a:t>
          </a:r>
          <a:endParaRPr lang="nb-NO" sz="2400" dirty="0"/>
        </a:p>
      </dgm:t>
    </dgm:pt>
    <dgm:pt modelId="{242E7609-4A55-4935-A9B4-AC5DA2A8BAB9}" type="parTrans" cxnId="{522D4B74-BB56-4C02-A671-01EACC591B6F}">
      <dgm:prSet/>
      <dgm:spPr/>
      <dgm:t>
        <a:bodyPr/>
        <a:lstStyle/>
        <a:p>
          <a:endParaRPr lang="en-US"/>
        </a:p>
      </dgm:t>
    </dgm:pt>
    <dgm:pt modelId="{ACA45D41-F4A1-42BC-87D2-BC6B68D72AF5}" type="sibTrans" cxnId="{522D4B74-BB56-4C02-A671-01EACC591B6F}">
      <dgm:prSet/>
      <dgm:spPr/>
      <dgm:t>
        <a:bodyPr/>
        <a:lstStyle/>
        <a:p>
          <a:endParaRPr lang="en-US"/>
        </a:p>
      </dgm:t>
    </dgm:pt>
    <dgm:pt modelId="{752D74D6-EA96-420F-BBA8-68A1635AD805}">
      <dgm:prSet custT="1"/>
      <dgm:spPr/>
      <dgm:t>
        <a:bodyPr/>
        <a:lstStyle/>
        <a:p>
          <a:r>
            <a:rPr lang="en-US" sz="2400" dirty="0" err="1"/>
            <a:t>DisableSharingForNonOwners</a:t>
          </a:r>
          <a:endParaRPr lang="nb-NO" sz="2400" dirty="0"/>
        </a:p>
      </dgm:t>
    </dgm:pt>
    <dgm:pt modelId="{72D41E3D-6043-431B-9653-F3627BAC569D}" type="parTrans" cxnId="{4CEE0015-3BE3-4391-8EEE-42BFD54CB7DD}">
      <dgm:prSet/>
      <dgm:spPr/>
      <dgm:t>
        <a:bodyPr/>
        <a:lstStyle/>
        <a:p>
          <a:endParaRPr lang="en-US"/>
        </a:p>
      </dgm:t>
    </dgm:pt>
    <dgm:pt modelId="{CEEDBB59-96A7-4C12-9FCA-AAC72EB6FD10}" type="sibTrans" cxnId="{4CEE0015-3BE3-4391-8EEE-42BFD54CB7DD}">
      <dgm:prSet/>
      <dgm:spPr/>
      <dgm:t>
        <a:bodyPr/>
        <a:lstStyle/>
        <a:p>
          <a:endParaRPr lang="en-US"/>
        </a:p>
      </dgm:t>
    </dgm:pt>
    <dgm:pt modelId="{BEDD52E5-0C9B-47A4-B37E-582A0A216514}">
      <dgm:prSet custT="1"/>
      <dgm:spPr/>
      <dgm:t>
        <a:bodyPr/>
        <a:lstStyle/>
        <a:p>
          <a:r>
            <a:rPr lang="en-US" sz="2400" dirty="0"/>
            <a:t>Owner</a:t>
          </a:r>
          <a:endParaRPr lang="nb-NO" sz="2400" dirty="0"/>
        </a:p>
      </dgm:t>
    </dgm:pt>
    <dgm:pt modelId="{25EA424F-C299-47F2-B03A-922E03D3571B}" type="parTrans" cxnId="{6C73756A-ABED-426A-938E-7DD373A00F30}">
      <dgm:prSet/>
      <dgm:spPr/>
      <dgm:t>
        <a:bodyPr/>
        <a:lstStyle/>
        <a:p>
          <a:endParaRPr lang="en-US"/>
        </a:p>
      </dgm:t>
    </dgm:pt>
    <dgm:pt modelId="{1107036B-5929-4B8D-84C5-F306B8288F05}" type="sibTrans" cxnId="{6C73756A-ABED-426A-938E-7DD373A00F30}">
      <dgm:prSet/>
      <dgm:spPr/>
      <dgm:t>
        <a:bodyPr/>
        <a:lstStyle/>
        <a:p>
          <a:endParaRPr lang="en-US"/>
        </a:p>
      </dgm:t>
    </dgm:pt>
    <dgm:pt modelId="{35B68934-2F04-4A40-8D99-2D3A01F95AB7}">
      <dgm:prSet custT="1"/>
      <dgm:spPr/>
      <dgm:t>
        <a:bodyPr/>
        <a:lstStyle/>
        <a:p>
          <a:r>
            <a:rPr lang="sv-SE" sz="2400" dirty="0"/>
            <a:t>StorageQuota</a:t>
          </a:r>
          <a:endParaRPr lang="nb-NO" sz="2400" dirty="0"/>
        </a:p>
      </dgm:t>
    </dgm:pt>
    <dgm:pt modelId="{8BEBA2AE-0BDD-4774-9607-863F589BB250}" type="parTrans" cxnId="{805B766B-BCB0-40C4-A26A-848143A605EF}">
      <dgm:prSet/>
      <dgm:spPr/>
      <dgm:t>
        <a:bodyPr/>
        <a:lstStyle/>
        <a:p>
          <a:endParaRPr lang="en-US"/>
        </a:p>
      </dgm:t>
    </dgm:pt>
    <dgm:pt modelId="{8B7AD06A-9B94-44E9-8B02-F9B77F675482}" type="sibTrans" cxnId="{805B766B-BCB0-40C4-A26A-848143A605EF}">
      <dgm:prSet/>
      <dgm:spPr/>
      <dgm:t>
        <a:bodyPr/>
        <a:lstStyle/>
        <a:p>
          <a:endParaRPr lang="en-US"/>
        </a:p>
      </dgm:t>
    </dgm:pt>
    <dgm:pt modelId="{39518364-F5CB-4342-8EE9-B059460546A6}">
      <dgm:prSet custT="1"/>
      <dgm:spPr/>
      <dgm:t>
        <a:bodyPr/>
        <a:lstStyle/>
        <a:p>
          <a:r>
            <a:rPr lang="sv-SE" sz="2400" dirty="0"/>
            <a:t>StorageQuotaWarningLevel</a:t>
          </a:r>
          <a:endParaRPr lang="nb-NO" sz="2400" dirty="0"/>
        </a:p>
      </dgm:t>
    </dgm:pt>
    <dgm:pt modelId="{1E6C7BA8-F978-483A-BAD1-7C5CF41F387E}" type="parTrans" cxnId="{ED782C9F-8DAC-4425-8B33-4543B14C4CF0}">
      <dgm:prSet/>
      <dgm:spPr/>
      <dgm:t>
        <a:bodyPr/>
        <a:lstStyle/>
        <a:p>
          <a:endParaRPr lang="en-US"/>
        </a:p>
      </dgm:t>
    </dgm:pt>
    <dgm:pt modelId="{D4C39257-18A0-4E42-961A-E9D1DD0F8134}" type="sibTrans" cxnId="{ED782C9F-8DAC-4425-8B33-4543B14C4CF0}">
      <dgm:prSet/>
      <dgm:spPr/>
      <dgm:t>
        <a:bodyPr/>
        <a:lstStyle/>
        <a:p>
          <a:endParaRPr lang="en-US"/>
        </a:p>
      </dgm:t>
    </dgm:pt>
    <dgm:pt modelId="{F8E78422-36CA-4574-B7EC-61D674264A36}">
      <dgm:prSet custT="1"/>
      <dgm:spPr/>
      <dgm:t>
        <a:bodyPr/>
        <a:lstStyle/>
        <a:p>
          <a:r>
            <a:rPr lang="en-US" sz="2400" dirty="0"/>
            <a:t>Title</a:t>
          </a:r>
          <a:endParaRPr lang="nb-NO" sz="2400" dirty="0"/>
        </a:p>
      </dgm:t>
    </dgm:pt>
    <dgm:pt modelId="{3BF1344D-6EC8-44AB-AD96-F488F9639E9F}" type="parTrans" cxnId="{8C97E082-6F84-4C53-8B49-611013BEC6FC}">
      <dgm:prSet/>
      <dgm:spPr/>
      <dgm:t>
        <a:bodyPr/>
        <a:lstStyle/>
        <a:p>
          <a:endParaRPr lang="en-US"/>
        </a:p>
      </dgm:t>
    </dgm:pt>
    <dgm:pt modelId="{CD4A316D-2E26-477C-87F9-77AB88BB2FDC}" type="sibTrans" cxnId="{8C97E082-6F84-4C53-8B49-611013BEC6FC}">
      <dgm:prSet/>
      <dgm:spPr/>
      <dgm:t>
        <a:bodyPr/>
        <a:lstStyle/>
        <a:p>
          <a:endParaRPr lang="en-US"/>
        </a:p>
      </dgm:t>
    </dgm:pt>
    <dgm:pt modelId="{B121CFF3-88AE-4C31-B5BC-8DAE877E8BFC}">
      <dgm:prSet custT="1"/>
      <dgm:spPr/>
      <dgm:t>
        <a:bodyPr/>
        <a:lstStyle/>
        <a:p>
          <a:r>
            <a:rPr lang="sv-SE" sz="2400" dirty="0"/>
            <a:t>SharingCapability</a:t>
          </a:r>
          <a:endParaRPr lang="nb-NO" sz="2400" dirty="0"/>
        </a:p>
      </dgm:t>
    </dgm:pt>
    <dgm:pt modelId="{FDF638DB-8AE7-474E-96E8-E529C0763EF7}" type="parTrans" cxnId="{2F9B98D7-9E27-4FD7-8D46-59697A3E90B0}">
      <dgm:prSet/>
      <dgm:spPr/>
      <dgm:t>
        <a:bodyPr/>
        <a:lstStyle/>
        <a:p>
          <a:endParaRPr lang="en-US"/>
        </a:p>
      </dgm:t>
    </dgm:pt>
    <dgm:pt modelId="{AA7F26B6-9CBC-4562-918D-E0F424FC6808}" type="sibTrans" cxnId="{2F9B98D7-9E27-4FD7-8D46-59697A3E90B0}">
      <dgm:prSet/>
      <dgm:spPr/>
      <dgm:t>
        <a:bodyPr/>
        <a:lstStyle/>
        <a:p>
          <a:endParaRPr lang="en-US"/>
        </a:p>
      </dgm:t>
    </dgm:pt>
    <dgm:pt modelId="{DCFF5FBA-5918-401E-921B-647EF131730F}" type="pres">
      <dgm:prSet presAssocID="{3C00C78E-9CD7-4CC8-8579-C5CD9030DA22}" presName="diagram" presStyleCnt="0">
        <dgm:presLayoutVars>
          <dgm:dir/>
          <dgm:resizeHandles val="exact"/>
        </dgm:presLayoutVars>
      </dgm:prSet>
      <dgm:spPr/>
    </dgm:pt>
    <dgm:pt modelId="{09CBD8CE-C27A-4C86-95F1-088ADCACC042}" type="pres">
      <dgm:prSet presAssocID="{D863647E-2422-45B2-A33F-C161CF0D405D}" presName="node" presStyleLbl="node1" presStyleIdx="0" presStyleCnt="8" custScaleX="295288">
        <dgm:presLayoutVars>
          <dgm:bulletEnabled val="1"/>
        </dgm:presLayoutVars>
      </dgm:prSet>
      <dgm:spPr/>
    </dgm:pt>
    <dgm:pt modelId="{2DB87D94-21D9-4713-8E99-323393E0559B}" type="pres">
      <dgm:prSet presAssocID="{A0D0E175-B6A2-4C29-83B9-0E1E2F151651}" presName="sibTrans" presStyleCnt="0"/>
      <dgm:spPr/>
    </dgm:pt>
    <dgm:pt modelId="{3BB2126C-DF0D-452C-8E11-3BEFD838B2A4}" type="pres">
      <dgm:prSet presAssocID="{BB5682F5-8139-4ED3-8D04-9AB097D7E353}" presName="node" presStyleLbl="node1" presStyleIdx="1" presStyleCnt="8" custScaleX="295288">
        <dgm:presLayoutVars>
          <dgm:bulletEnabled val="1"/>
        </dgm:presLayoutVars>
      </dgm:prSet>
      <dgm:spPr/>
    </dgm:pt>
    <dgm:pt modelId="{D36561CD-F509-4A5C-8A51-B11E85A42D37}" type="pres">
      <dgm:prSet presAssocID="{ACA45D41-F4A1-42BC-87D2-BC6B68D72AF5}" presName="sibTrans" presStyleCnt="0"/>
      <dgm:spPr/>
    </dgm:pt>
    <dgm:pt modelId="{B124458C-D662-4EE0-AAA0-20E19BA73D22}" type="pres">
      <dgm:prSet presAssocID="{752D74D6-EA96-420F-BBA8-68A1635AD805}" presName="node" presStyleLbl="node1" presStyleIdx="2" presStyleCnt="8" custScaleX="295288">
        <dgm:presLayoutVars>
          <dgm:bulletEnabled val="1"/>
        </dgm:presLayoutVars>
      </dgm:prSet>
      <dgm:spPr/>
    </dgm:pt>
    <dgm:pt modelId="{B8CAEAEC-3361-4DEA-8BDF-65E73DC72645}" type="pres">
      <dgm:prSet presAssocID="{CEEDBB59-96A7-4C12-9FCA-AAC72EB6FD10}" presName="sibTrans" presStyleCnt="0"/>
      <dgm:spPr/>
    </dgm:pt>
    <dgm:pt modelId="{AA311D60-CE69-43C7-A645-6B9AB710AD35}" type="pres">
      <dgm:prSet presAssocID="{BEDD52E5-0C9B-47A4-B37E-582A0A216514}" presName="node" presStyleLbl="node1" presStyleIdx="3" presStyleCnt="8" custScaleX="295288">
        <dgm:presLayoutVars>
          <dgm:bulletEnabled val="1"/>
        </dgm:presLayoutVars>
      </dgm:prSet>
      <dgm:spPr/>
    </dgm:pt>
    <dgm:pt modelId="{491EC73A-DDC3-4D1D-A6B9-6D84A0BCADEE}" type="pres">
      <dgm:prSet presAssocID="{1107036B-5929-4B8D-84C5-F306B8288F05}" presName="sibTrans" presStyleCnt="0"/>
      <dgm:spPr/>
    </dgm:pt>
    <dgm:pt modelId="{21A06B91-FFE9-4B46-BD98-BE105F57023C}" type="pres">
      <dgm:prSet presAssocID="{35B68934-2F04-4A40-8D99-2D3A01F95AB7}" presName="node" presStyleLbl="node1" presStyleIdx="4" presStyleCnt="8" custScaleX="295288">
        <dgm:presLayoutVars>
          <dgm:bulletEnabled val="1"/>
        </dgm:presLayoutVars>
      </dgm:prSet>
      <dgm:spPr/>
    </dgm:pt>
    <dgm:pt modelId="{6A2F855D-BB33-4362-8FC7-EC1D6E265F04}" type="pres">
      <dgm:prSet presAssocID="{8B7AD06A-9B94-44E9-8B02-F9B77F675482}" presName="sibTrans" presStyleCnt="0"/>
      <dgm:spPr/>
    </dgm:pt>
    <dgm:pt modelId="{AAE9A8FC-5857-4EDD-8AC7-85E4349DBA89}" type="pres">
      <dgm:prSet presAssocID="{39518364-F5CB-4342-8EE9-B059460546A6}" presName="node" presStyleLbl="node1" presStyleIdx="5" presStyleCnt="8" custScaleX="295288">
        <dgm:presLayoutVars>
          <dgm:bulletEnabled val="1"/>
        </dgm:presLayoutVars>
      </dgm:prSet>
      <dgm:spPr/>
    </dgm:pt>
    <dgm:pt modelId="{FA19C353-E8E8-48E3-93A9-B0064C2A0DCB}" type="pres">
      <dgm:prSet presAssocID="{D4C39257-18A0-4E42-961A-E9D1DD0F8134}" presName="sibTrans" presStyleCnt="0"/>
      <dgm:spPr/>
    </dgm:pt>
    <dgm:pt modelId="{0122FD0B-B404-4894-98AF-2EFD33168705}" type="pres">
      <dgm:prSet presAssocID="{F8E78422-36CA-4574-B7EC-61D674264A36}" presName="node" presStyleLbl="node1" presStyleIdx="6" presStyleCnt="8" custScaleX="295288">
        <dgm:presLayoutVars>
          <dgm:bulletEnabled val="1"/>
        </dgm:presLayoutVars>
      </dgm:prSet>
      <dgm:spPr/>
    </dgm:pt>
    <dgm:pt modelId="{94E70E63-EDA1-487F-9418-89F0C42AB1B6}" type="pres">
      <dgm:prSet presAssocID="{CD4A316D-2E26-477C-87F9-77AB88BB2FDC}" presName="sibTrans" presStyleCnt="0"/>
      <dgm:spPr/>
    </dgm:pt>
    <dgm:pt modelId="{08E60302-A53F-4E42-B770-96B9C631B464}" type="pres">
      <dgm:prSet presAssocID="{B121CFF3-88AE-4C31-B5BC-8DAE877E8BFC}" presName="node" presStyleLbl="node1" presStyleIdx="7" presStyleCnt="8" custScaleX="295288">
        <dgm:presLayoutVars>
          <dgm:bulletEnabled val="1"/>
        </dgm:presLayoutVars>
      </dgm:prSet>
      <dgm:spPr/>
    </dgm:pt>
  </dgm:ptLst>
  <dgm:cxnLst>
    <dgm:cxn modelId="{4CEE0015-3BE3-4391-8EEE-42BFD54CB7DD}" srcId="{3C00C78E-9CD7-4CC8-8579-C5CD9030DA22}" destId="{752D74D6-EA96-420F-BBA8-68A1635AD805}" srcOrd="2" destOrd="0" parTransId="{72D41E3D-6043-431B-9653-F3627BAC569D}" sibTransId="{CEEDBB59-96A7-4C12-9FCA-AAC72EB6FD10}"/>
    <dgm:cxn modelId="{909B863A-0E05-4502-96F1-7725A0181BF1}" type="presOf" srcId="{BEDD52E5-0C9B-47A4-B37E-582A0A216514}" destId="{AA311D60-CE69-43C7-A645-6B9AB710AD35}" srcOrd="0" destOrd="0" presId="urn:microsoft.com/office/officeart/2005/8/layout/default"/>
    <dgm:cxn modelId="{0F74C75C-DAAA-418E-8A40-BF81C1BED84D}" type="presOf" srcId="{35B68934-2F04-4A40-8D99-2D3A01F95AB7}" destId="{21A06B91-FFE9-4B46-BD98-BE105F57023C}" srcOrd="0" destOrd="0" presId="urn:microsoft.com/office/officeart/2005/8/layout/default"/>
    <dgm:cxn modelId="{6C73756A-ABED-426A-938E-7DD373A00F30}" srcId="{3C00C78E-9CD7-4CC8-8579-C5CD9030DA22}" destId="{BEDD52E5-0C9B-47A4-B37E-582A0A216514}" srcOrd="3" destOrd="0" parTransId="{25EA424F-C299-47F2-B03A-922E03D3571B}" sibTransId="{1107036B-5929-4B8D-84C5-F306B8288F05}"/>
    <dgm:cxn modelId="{805B766B-BCB0-40C4-A26A-848143A605EF}" srcId="{3C00C78E-9CD7-4CC8-8579-C5CD9030DA22}" destId="{35B68934-2F04-4A40-8D99-2D3A01F95AB7}" srcOrd="4" destOrd="0" parTransId="{8BEBA2AE-0BDD-4774-9607-863F589BB250}" sibTransId="{8B7AD06A-9B94-44E9-8B02-F9B77F675482}"/>
    <dgm:cxn modelId="{522D4B74-BB56-4C02-A671-01EACC591B6F}" srcId="{3C00C78E-9CD7-4CC8-8579-C5CD9030DA22}" destId="{BB5682F5-8139-4ED3-8D04-9AB097D7E353}" srcOrd="1" destOrd="0" parTransId="{242E7609-4A55-4935-A9B4-AC5DA2A8BAB9}" sibTransId="{ACA45D41-F4A1-42BC-87D2-BC6B68D72AF5}"/>
    <dgm:cxn modelId="{B24D5077-32C2-4CB6-ADEB-1BAC3918AD0D}" type="presOf" srcId="{3C00C78E-9CD7-4CC8-8579-C5CD9030DA22}" destId="{DCFF5FBA-5918-401E-921B-647EF131730F}" srcOrd="0" destOrd="0" presId="urn:microsoft.com/office/officeart/2005/8/layout/default"/>
    <dgm:cxn modelId="{CED58058-4A85-4A44-A5E9-A4C4E131C0C0}" srcId="{3C00C78E-9CD7-4CC8-8579-C5CD9030DA22}" destId="{D863647E-2422-45B2-A33F-C161CF0D405D}" srcOrd="0" destOrd="0" parTransId="{04142C6A-B671-474B-A4FC-C51AC245C8B1}" sibTransId="{A0D0E175-B6A2-4C29-83B9-0E1E2F151651}"/>
    <dgm:cxn modelId="{7486F17E-9FCD-418D-8D25-BDD5E95A6E39}" type="presOf" srcId="{BB5682F5-8139-4ED3-8D04-9AB097D7E353}" destId="{3BB2126C-DF0D-452C-8E11-3BEFD838B2A4}" srcOrd="0" destOrd="0" presId="urn:microsoft.com/office/officeart/2005/8/layout/default"/>
    <dgm:cxn modelId="{8C97E082-6F84-4C53-8B49-611013BEC6FC}" srcId="{3C00C78E-9CD7-4CC8-8579-C5CD9030DA22}" destId="{F8E78422-36CA-4574-B7EC-61D674264A36}" srcOrd="6" destOrd="0" parTransId="{3BF1344D-6EC8-44AB-AD96-F488F9639E9F}" sibTransId="{CD4A316D-2E26-477C-87F9-77AB88BB2FDC}"/>
    <dgm:cxn modelId="{0B1C678D-4BA5-413F-A884-0A459DDF551B}" type="presOf" srcId="{D863647E-2422-45B2-A33F-C161CF0D405D}" destId="{09CBD8CE-C27A-4C86-95F1-088ADCACC042}" srcOrd="0" destOrd="0" presId="urn:microsoft.com/office/officeart/2005/8/layout/default"/>
    <dgm:cxn modelId="{ED782C9F-8DAC-4425-8B33-4543B14C4CF0}" srcId="{3C00C78E-9CD7-4CC8-8579-C5CD9030DA22}" destId="{39518364-F5CB-4342-8EE9-B059460546A6}" srcOrd="5" destOrd="0" parTransId="{1E6C7BA8-F978-483A-BAD1-7C5CF41F387E}" sibTransId="{D4C39257-18A0-4E42-961A-E9D1DD0F8134}"/>
    <dgm:cxn modelId="{2F9B98D7-9E27-4FD7-8D46-59697A3E90B0}" srcId="{3C00C78E-9CD7-4CC8-8579-C5CD9030DA22}" destId="{B121CFF3-88AE-4C31-B5BC-8DAE877E8BFC}" srcOrd="7" destOrd="0" parTransId="{FDF638DB-8AE7-474E-96E8-E529C0763EF7}" sibTransId="{AA7F26B6-9CBC-4562-918D-E0F424FC6808}"/>
    <dgm:cxn modelId="{59135FDF-232D-4C47-8656-03438B99D7E3}" type="presOf" srcId="{B121CFF3-88AE-4C31-B5BC-8DAE877E8BFC}" destId="{08E60302-A53F-4E42-B770-96B9C631B464}" srcOrd="0" destOrd="0" presId="urn:microsoft.com/office/officeart/2005/8/layout/default"/>
    <dgm:cxn modelId="{15B0B9E3-F98A-4139-82E0-06ED5EBB4D41}" type="presOf" srcId="{39518364-F5CB-4342-8EE9-B059460546A6}" destId="{AAE9A8FC-5857-4EDD-8AC7-85E4349DBA89}" srcOrd="0" destOrd="0" presId="urn:microsoft.com/office/officeart/2005/8/layout/default"/>
    <dgm:cxn modelId="{F69F51F7-BC8B-4830-91FF-0A1EE416D3E2}" type="presOf" srcId="{F8E78422-36CA-4574-B7EC-61D674264A36}" destId="{0122FD0B-B404-4894-98AF-2EFD33168705}" srcOrd="0" destOrd="0" presId="urn:microsoft.com/office/officeart/2005/8/layout/default"/>
    <dgm:cxn modelId="{5821F8F7-3AE5-43A0-A24D-A5BAE38C185D}" type="presOf" srcId="{752D74D6-EA96-420F-BBA8-68A1635AD805}" destId="{B124458C-D662-4EE0-AAA0-20E19BA73D22}" srcOrd="0" destOrd="0" presId="urn:microsoft.com/office/officeart/2005/8/layout/default"/>
    <dgm:cxn modelId="{B55C921A-05EB-40BE-B864-9BEE2D220192}" type="presParOf" srcId="{DCFF5FBA-5918-401E-921B-647EF131730F}" destId="{09CBD8CE-C27A-4C86-95F1-088ADCACC042}" srcOrd="0" destOrd="0" presId="urn:microsoft.com/office/officeart/2005/8/layout/default"/>
    <dgm:cxn modelId="{6AAD1BB8-C48C-437A-B9D6-5F3A9867AED6}" type="presParOf" srcId="{DCFF5FBA-5918-401E-921B-647EF131730F}" destId="{2DB87D94-21D9-4713-8E99-323393E0559B}" srcOrd="1" destOrd="0" presId="urn:microsoft.com/office/officeart/2005/8/layout/default"/>
    <dgm:cxn modelId="{A4F4AC2F-0C74-4D95-A69E-8FBCA9459E4D}" type="presParOf" srcId="{DCFF5FBA-5918-401E-921B-647EF131730F}" destId="{3BB2126C-DF0D-452C-8E11-3BEFD838B2A4}" srcOrd="2" destOrd="0" presId="urn:microsoft.com/office/officeart/2005/8/layout/default"/>
    <dgm:cxn modelId="{30688224-F505-4531-BF88-71FFAFDE4A41}" type="presParOf" srcId="{DCFF5FBA-5918-401E-921B-647EF131730F}" destId="{D36561CD-F509-4A5C-8A51-B11E85A42D37}" srcOrd="3" destOrd="0" presId="urn:microsoft.com/office/officeart/2005/8/layout/default"/>
    <dgm:cxn modelId="{CF8DD4DB-6FE0-4866-9419-EE6FB228D453}" type="presParOf" srcId="{DCFF5FBA-5918-401E-921B-647EF131730F}" destId="{B124458C-D662-4EE0-AAA0-20E19BA73D22}" srcOrd="4" destOrd="0" presId="urn:microsoft.com/office/officeart/2005/8/layout/default"/>
    <dgm:cxn modelId="{8230B5F0-25E3-4165-9560-65182368179D}" type="presParOf" srcId="{DCFF5FBA-5918-401E-921B-647EF131730F}" destId="{B8CAEAEC-3361-4DEA-8BDF-65E73DC72645}" srcOrd="5" destOrd="0" presId="urn:microsoft.com/office/officeart/2005/8/layout/default"/>
    <dgm:cxn modelId="{B43A986D-9893-4492-A17B-ECEF4BBB1D5F}" type="presParOf" srcId="{DCFF5FBA-5918-401E-921B-647EF131730F}" destId="{AA311D60-CE69-43C7-A645-6B9AB710AD35}" srcOrd="6" destOrd="0" presId="urn:microsoft.com/office/officeart/2005/8/layout/default"/>
    <dgm:cxn modelId="{15CD869E-7A6D-4BC9-A338-BD4A54833AFE}" type="presParOf" srcId="{DCFF5FBA-5918-401E-921B-647EF131730F}" destId="{491EC73A-DDC3-4D1D-A6B9-6D84A0BCADEE}" srcOrd="7" destOrd="0" presId="urn:microsoft.com/office/officeart/2005/8/layout/default"/>
    <dgm:cxn modelId="{2BF90429-B71A-4405-B48C-08526A140972}" type="presParOf" srcId="{DCFF5FBA-5918-401E-921B-647EF131730F}" destId="{21A06B91-FFE9-4B46-BD98-BE105F57023C}" srcOrd="8" destOrd="0" presId="urn:microsoft.com/office/officeart/2005/8/layout/default"/>
    <dgm:cxn modelId="{AEDFCBB5-ABB5-4249-B24F-9F2E66F38569}" type="presParOf" srcId="{DCFF5FBA-5918-401E-921B-647EF131730F}" destId="{6A2F855D-BB33-4362-8FC7-EC1D6E265F04}" srcOrd="9" destOrd="0" presId="urn:microsoft.com/office/officeart/2005/8/layout/default"/>
    <dgm:cxn modelId="{70B1FCF2-57D3-41AA-8CF8-F2B89B61CAF1}" type="presParOf" srcId="{DCFF5FBA-5918-401E-921B-647EF131730F}" destId="{AAE9A8FC-5857-4EDD-8AC7-85E4349DBA89}" srcOrd="10" destOrd="0" presId="urn:microsoft.com/office/officeart/2005/8/layout/default"/>
    <dgm:cxn modelId="{6DAEA33A-AA37-4063-83A5-4AE3995446AB}" type="presParOf" srcId="{DCFF5FBA-5918-401E-921B-647EF131730F}" destId="{FA19C353-E8E8-48E3-93A9-B0064C2A0DCB}" srcOrd="11" destOrd="0" presId="urn:microsoft.com/office/officeart/2005/8/layout/default"/>
    <dgm:cxn modelId="{CDAE4132-4B93-4FC6-967E-2627D04161AF}" type="presParOf" srcId="{DCFF5FBA-5918-401E-921B-647EF131730F}" destId="{0122FD0B-B404-4894-98AF-2EFD33168705}" srcOrd="12" destOrd="0" presId="urn:microsoft.com/office/officeart/2005/8/layout/default"/>
    <dgm:cxn modelId="{C2798858-5CD9-497D-84EC-85D34C5D9559}" type="presParOf" srcId="{DCFF5FBA-5918-401E-921B-647EF131730F}" destId="{94E70E63-EDA1-487F-9418-89F0C42AB1B6}" srcOrd="13" destOrd="0" presId="urn:microsoft.com/office/officeart/2005/8/layout/default"/>
    <dgm:cxn modelId="{9082D734-3962-43D5-8D12-3650A6DB5833}" type="presParOf" srcId="{DCFF5FBA-5918-401E-921B-647EF131730F}" destId="{08E60302-A53F-4E42-B770-96B9C631B464}"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0E0A288-35C0-45DF-B7E1-1C37C658068F}"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89961A7-C6D0-488D-9874-44FDBDB49267}">
      <dgm:prSet/>
      <dgm:spPr/>
      <dgm:t>
        <a:bodyPr/>
        <a:lstStyle/>
        <a:p>
          <a:r>
            <a:rPr lang="nb-NO" dirty="0"/>
            <a:t>Get-SPOTenant</a:t>
          </a:r>
        </a:p>
      </dgm:t>
    </dgm:pt>
    <dgm:pt modelId="{5D92362D-2E22-451D-8216-34459049FE76}" type="parTrans" cxnId="{9E441946-3F77-47A4-AF92-5201AAFE8123}">
      <dgm:prSet/>
      <dgm:spPr/>
      <dgm:t>
        <a:bodyPr/>
        <a:lstStyle/>
        <a:p>
          <a:endParaRPr lang="en-US"/>
        </a:p>
      </dgm:t>
    </dgm:pt>
    <dgm:pt modelId="{7481D69B-3C28-4430-8B41-85BF03D0D172}" type="sibTrans" cxnId="{9E441946-3F77-47A4-AF92-5201AAFE8123}">
      <dgm:prSet/>
      <dgm:spPr/>
      <dgm:t>
        <a:bodyPr/>
        <a:lstStyle/>
        <a:p>
          <a:endParaRPr lang="en-US"/>
        </a:p>
      </dgm:t>
    </dgm:pt>
    <dgm:pt modelId="{BBF8FD9D-45F8-49F7-806B-670D8B0DEFE8}">
      <dgm:prSet/>
      <dgm:spPr/>
      <dgm:t>
        <a:bodyPr/>
        <a:lstStyle/>
        <a:p>
          <a:r>
            <a:rPr lang="en-US" dirty="0"/>
            <a:t>Set-</a:t>
          </a:r>
          <a:r>
            <a:rPr lang="en-US" dirty="0" err="1"/>
            <a:t>SPOTenant</a:t>
          </a:r>
          <a:r>
            <a:rPr lang="en-US" dirty="0"/>
            <a:t> –</a:t>
          </a:r>
          <a:r>
            <a:rPr lang="en-US" dirty="0" err="1"/>
            <a:t>ShowEveryoneClaim</a:t>
          </a:r>
          <a:endParaRPr lang="nb-NO" dirty="0"/>
        </a:p>
      </dgm:t>
    </dgm:pt>
    <dgm:pt modelId="{7EB9964A-068F-42C4-9146-B52461278D7D}" type="parTrans" cxnId="{64CC2450-3BDE-48AD-909B-AD6C860FC6E7}">
      <dgm:prSet/>
      <dgm:spPr/>
      <dgm:t>
        <a:bodyPr/>
        <a:lstStyle/>
        <a:p>
          <a:endParaRPr lang="en-US"/>
        </a:p>
      </dgm:t>
    </dgm:pt>
    <dgm:pt modelId="{E4E0472E-F126-471F-B54C-B2F087F39AD3}" type="sibTrans" cxnId="{64CC2450-3BDE-48AD-909B-AD6C860FC6E7}">
      <dgm:prSet/>
      <dgm:spPr/>
      <dgm:t>
        <a:bodyPr/>
        <a:lstStyle/>
        <a:p>
          <a:endParaRPr lang="en-US"/>
        </a:p>
      </dgm:t>
    </dgm:pt>
    <dgm:pt modelId="{3C4BE897-68DD-4822-95C1-920B90718F2B}">
      <dgm:prSet/>
      <dgm:spPr/>
      <dgm:t>
        <a:bodyPr/>
        <a:lstStyle/>
        <a:p>
          <a:r>
            <a:rPr lang="en-US" dirty="0"/>
            <a:t>Set-</a:t>
          </a:r>
          <a:r>
            <a:rPr lang="en-US" dirty="0" err="1"/>
            <a:t>SPOTenant</a:t>
          </a:r>
          <a:r>
            <a:rPr lang="en-US" dirty="0"/>
            <a:t> -</a:t>
          </a:r>
          <a:r>
            <a:rPr lang="en-US" dirty="0" err="1"/>
            <a:t>ShowEveryoneClaim</a:t>
          </a:r>
          <a:r>
            <a:rPr lang="en-US" dirty="0"/>
            <a:t> $false</a:t>
          </a:r>
          <a:br>
            <a:rPr lang="en-US" dirty="0"/>
          </a:br>
          <a:r>
            <a:rPr lang="en-US" dirty="0"/>
            <a:t>This example hides the "Everyone Except External Users" claim in People Picker.</a:t>
          </a:r>
          <a:endParaRPr lang="nb-NO" dirty="0"/>
        </a:p>
      </dgm:t>
    </dgm:pt>
    <dgm:pt modelId="{D0943993-9272-4D2F-9924-1A1AFF155996}" type="parTrans" cxnId="{87C458DB-38E5-448C-AD2E-087B869F3CEC}">
      <dgm:prSet/>
      <dgm:spPr/>
      <dgm:t>
        <a:bodyPr/>
        <a:lstStyle/>
        <a:p>
          <a:endParaRPr lang="en-US"/>
        </a:p>
      </dgm:t>
    </dgm:pt>
    <dgm:pt modelId="{FA47EB98-8E31-4078-B511-00DF66EAC449}" type="sibTrans" cxnId="{87C458DB-38E5-448C-AD2E-087B869F3CEC}">
      <dgm:prSet/>
      <dgm:spPr/>
      <dgm:t>
        <a:bodyPr/>
        <a:lstStyle/>
        <a:p>
          <a:endParaRPr lang="en-US"/>
        </a:p>
      </dgm:t>
    </dgm:pt>
    <dgm:pt modelId="{67C128C5-DA1F-4721-A607-B692B005B1D2}">
      <dgm:prSet/>
      <dgm:spPr/>
      <dgm:t>
        <a:bodyPr/>
        <a:lstStyle/>
        <a:p>
          <a:r>
            <a:rPr lang="en-US" dirty="0"/>
            <a:t>Returns organization-level site collection properties such as </a:t>
          </a:r>
          <a:r>
            <a:rPr lang="en-US" dirty="0" err="1"/>
            <a:t>StorageQuota</a:t>
          </a:r>
          <a:r>
            <a:rPr lang="en-US" dirty="0"/>
            <a:t>, </a:t>
          </a:r>
          <a:r>
            <a:rPr lang="en-US" dirty="0" err="1"/>
            <a:t>StorageQuotaAllocated</a:t>
          </a:r>
          <a:r>
            <a:rPr lang="en-US" dirty="0"/>
            <a:t>, </a:t>
          </a:r>
          <a:r>
            <a:rPr lang="en-US" dirty="0" err="1"/>
            <a:t>SharingCapability</a:t>
          </a:r>
          <a:r>
            <a:rPr lang="en-US" dirty="0"/>
            <a:t>, </a:t>
          </a:r>
          <a:r>
            <a:rPr lang="en-US" dirty="0" err="1"/>
            <a:t>LegacyAuthProtocolsEnabled</a:t>
          </a:r>
          <a:r>
            <a:rPr lang="en-US" dirty="0"/>
            <a:t>, and </a:t>
          </a:r>
          <a:r>
            <a:rPr lang="en-US" dirty="0" err="1"/>
            <a:t>SiteCreationMode</a:t>
          </a:r>
          <a:r>
            <a:rPr lang="en-US" dirty="0"/>
            <a:t> </a:t>
          </a:r>
          <a:br>
            <a:rPr lang="en-US" dirty="0"/>
          </a:br>
          <a:endParaRPr lang="nb-NO" dirty="0"/>
        </a:p>
      </dgm:t>
    </dgm:pt>
    <dgm:pt modelId="{4DDB0954-2350-4427-89E9-6A04ED9A3A43}" type="parTrans" cxnId="{D9365FE7-EF9E-45C9-A5CC-2C0BFEF5A32E}">
      <dgm:prSet/>
      <dgm:spPr/>
      <dgm:t>
        <a:bodyPr/>
        <a:lstStyle/>
        <a:p>
          <a:endParaRPr lang="en-US"/>
        </a:p>
      </dgm:t>
    </dgm:pt>
    <dgm:pt modelId="{9D79B248-84AC-48D4-9CE9-B6C31301BF6D}" type="sibTrans" cxnId="{D9365FE7-EF9E-45C9-A5CC-2C0BFEF5A32E}">
      <dgm:prSet/>
      <dgm:spPr/>
      <dgm:t>
        <a:bodyPr/>
        <a:lstStyle/>
        <a:p>
          <a:endParaRPr lang="en-US"/>
        </a:p>
      </dgm:t>
    </dgm:pt>
    <dgm:pt modelId="{14BB0595-D17A-402E-A174-8E5D983A5737}" type="pres">
      <dgm:prSet presAssocID="{D0E0A288-35C0-45DF-B7E1-1C37C658068F}" presName="linear" presStyleCnt="0">
        <dgm:presLayoutVars>
          <dgm:animLvl val="lvl"/>
          <dgm:resizeHandles val="exact"/>
        </dgm:presLayoutVars>
      </dgm:prSet>
      <dgm:spPr/>
    </dgm:pt>
    <dgm:pt modelId="{27245228-2E43-44FD-9E41-2DCD5BE90D7D}" type="pres">
      <dgm:prSet presAssocID="{B89961A7-C6D0-488D-9874-44FDBDB49267}" presName="parentText" presStyleLbl="node1" presStyleIdx="0" presStyleCnt="2">
        <dgm:presLayoutVars>
          <dgm:chMax val="0"/>
          <dgm:bulletEnabled val="1"/>
        </dgm:presLayoutVars>
      </dgm:prSet>
      <dgm:spPr/>
    </dgm:pt>
    <dgm:pt modelId="{AFA0CD2B-55D6-4A4E-A3C9-EF82BB6B40F4}" type="pres">
      <dgm:prSet presAssocID="{B89961A7-C6D0-488D-9874-44FDBDB49267}" presName="childText" presStyleLbl="revTx" presStyleIdx="0" presStyleCnt="2">
        <dgm:presLayoutVars>
          <dgm:bulletEnabled val="1"/>
        </dgm:presLayoutVars>
      </dgm:prSet>
      <dgm:spPr/>
    </dgm:pt>
    <dgm:pt modelId="{98A557E1-0D3A-41AD-8828-0E0DF0381DCA}" type="pres">
      <dgm:prSet presAssocID="{BBF8FD9D-45F8-49F7-806B-670D8B0DEFE8}" presName="parentText" presStyleLbl="node1" presStyleIdx="1" presStyleCnt="2">
        <dgm:presLayoutVars>
          <dgm:chMax val="0"/>
          <dgm:bulletEnabled val="1"/>
        </dgm:presLayoutVars>
      </dgm:prSet>
      <dgm:spPr/>
    </dgm:pt>
    <dgm:pt modelId="{7A4A4BF7-0230-4266-A00C-4331A0504209}" type="pres">
      <dgm:prSet presAssocID="{BBF8FD9D-45F8-49F7-806B-670D8B0DEFE8}" presName="childText" presStyleLbl="revTx" presStyleIdx="1" presStyleCnt="2">
        <dgm:presLayoutVars>
          <dgm:bulletEnabled val="1"/>
        </dgm:presLayoutVars>
      </dgm:prSet>
      <dgm:spPr/>
    </dgm:pt>
  </dgm:ptLst>
  <dgm:cxnLst>
    <dgm:cxn modelId="{D1241924-6549-4E9B-B462-56F5B4BCC6AE}" type="presOf" srcId="{B89961A7-C6D0-488D-9874-44FDBDB49267}" destId="{27245228-2E43-44FD-9E41-2DCD5BE90D7D}" srcOrd="0" destOrd="0" presId="urn:microsoft.com/office/officeart/2005/8/layout/vList2"/>
    <dgm:cxn modelId="{F54DEE2B-711E-4696-9F90-2029A62DBAAC}" type="presOf" srcId="{3C4BE897-68DD-4822-95C1-920B90718F2B}" destId="{7A4A4BF7-0230-4266-A00C-4331A0504209}" srcOrd="0" destOrd="0" presId="urn:microsoft.com/office/officeart/2005/8/layout/vList2"/>
    <dgm:cxn modelId="{1AB65E38-BD45-4F92-8D0F-D343C83EF1F2}" type="presOf" srcId="{D0E0A288-35C0-45DF-B7E1-1C37C658068F}" destId="{14BB0595-D17A-402E-A174-8E5D983A5737}" srcOrd="0" destOrd="0" presId="urn:microsoft.com/office/officeart/2005/8/layout/vList2"/>
    <dgm:cxn modelId="{F4C2F563-C220-47F6-B35A-0E4C329E2C44}" type="presOf" srcId="{BBF8FD9D-45F8-49F7-806B-670D8B0DEFE8}" destId="{98A557E1-0D3A-41AD-8828-0E0DF0381DCA}" srcOrd="0" destOrd="0" presId="urn:microsoft.com/office/officeart/2005/8/layout/vList2"/>
    <dgm:cxn modelId="{9E441946-3F77-47A4-AF92-5201AAFE8123}" srcId="{D0E0A288-35C0-45DF-B7E1-1C37C658068F}" destId="{B89961A7-C6D0-488D-9874-44FDBDB49267}" srcOrd="0" destOrd="0" parTransId="{5D92362D-2E22-451D-8216-34459049FE76}" sibTransId="{7481D69B-3C28-4430-8B41-85BF03D0D172}"/>
    <dgm:cxn modelId="{64CC2450-3BDE-48AD-909B-AD6C860FC6E7}" srcId="{D0E0A288-35C0-45DF-B7E1-1C37C658068F}" destId="{BBF8FD9D-45F8-49F7-806B-670D8B0DEFE8}" srcOrd="1" destOrd="0" parTransId="{7EB9964A-068F-42C4-9146-B52461278D7D}" sibTransId="{E4E0472E-F126-471F-B54C-B2F087F39AD3}"/>
    <dgm:cxn modelId="{4EAB4773-3B51-46F6-82A5-F72E0DF12607}" type="presOf" srcId="{67C128C5-DA1F-4721-A607-B692B005B1D2}" destId="{AFA0CD2B-55D6-4A4E-A3C9-EF82BB6B40F4}" srcOrd="0" destOrd="0" presId="urn:microsoft.com/office/officeart/2005/8/layout/vList2"/>
    <dgm:cxn modelId="{87C458DB-38E5-448C-AD2E-087B869F3CEC}" srcId="{BBF8FD9D-45F8-49F7-806B-670D8B0DEFE8}" destId="{3C4BE897-68DD-4822-95C1-920B90718F2B}" srcOrd="0" destOrd="0" parTransId="{D0943993-9272-4D2F-9924-1A1AFF155996}" sibTransId="{FA47EB98-8E31-4078-B511-00DF66EAC449}"/>
    <dgm:cxn modelId="{D9365FE7-EF9E-45C9-A5CC-2C0BFEF5A32E}" srcId="{B89961A7-C6D0-488D-9874-44FDBDB49267}" destId="{67C128C5-DA1F-4721-A607-B692B005B1D2}" srcOrd="0" destOrd="0" parTransId="{4DDB0954-2350-4427-89E9-6A04ED9A3A43}" sibTransId="{9D79B248-84AC-48D4-9CE9-B6C31301BF6D}"/>
    <dgm:cxn modelId="{6EA5580B-D8B0-41AF-AF39-A39047D0C966}" type="presParOf" srcId="{14BB0595-D17A-402E-A174-8E5D983A5737}" destId="{27245228-2E43-44FD-9E41-2DCD5BE90D7D}" srcOrd="0" destOrd="0" presId="urn:microsoft.com/office/officeart/2005/8/layout/vList2"/>
    <dgm:cxn modelId="{28C3B549-117F-4047-A303-D2A355D7776E}" type="presParOf" srcId="{14BB0595-D17A-402E-A174-8E5D983A5737}" destId="{AFA0CD2B-55D6-4A4E-A3C9-EF82BB6B40F4}" srcOrd="1" destOrd="0" presId="urn:microsoft.com/office/officeart/2005/8/layout/vList2"/>
    <dgm:cxn modelId="{A1BDFF34-038A-4DEA-B562-18462547454A}" type="presParOf" srcId="{14BB0595-D17A-402E-A174-8E5D983A5737}" destId="{98A557E1-0D3A-41AD-8828-0E0DF0381DCA}" srcOrd="2" destOrd="0" presId="urn:microsoft.com/office/officeart/2005/8/layout/vList2"/>
    <dgm:cxn modelId="{76247326-06F7-4419-B8D2-C246EB139A74}" type="presParOf" srcId="{14BB0595-D17A-402E-A174-8E5D983A5737}" destId="{7A4A4BF7-0230-4266-A00C-4331A050420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62D471-9881-49C6-895F-1A85363633F3}">
      <dsp:nvSpPr>
        <dsp:cNvPr id="0" name=""/>
        <dsp:cNvSpPr/>
      </dsp:nvSpPr>
      <dsp:spPr>
        <a:xfrm rot="5400000">
          <a:off x="6701833" y="-2577445"/>
          <a:ext cx="1478838" cy="7003531"/>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244600">
            <a:lnSpc>
              <a:spcPct val="90000"/>
            </a:lnSpc>
            <a:spcBef>
              <a:spcPct val="0"/>
            </a:spcBef>
            <a:spcAft>
              <a:spcPct val="15000"/>
            </a:spcAft>
            <a:buChar char="•"/>
          </a:pPr>
          <a:r>
            <a:rPr lang="en-IN" sz="2800" kern="1200" dirty="0"/>
            <a:t>Connect-</a:t>
          </a:r>
          <a:r>
            <a:rPr lang="en-IN" sz="2800" kern="1200" dirty="0" err="1"/>
            <a:t>SPOService</a:t>
          </a:r>
          <a:r>
            <a:rPr lang="en-IN" sz="2800" kern="1200" dirty="0"/>
            <a:t> -</a:t>
          </a:r>
          <a:r>
            <a:rPr lang="en-IN" sz="2800" kern="1200" dirty="0" err="1"/>
            <a:t>Url</a:t>
          </a:r>
          <a:r>
            <a:rPr lang="en-IN" sz="2800" kern="1200" dirty="0"/>
            <a:t> https://contoso-admin.sharepoint.com</a:t>
          </a:r>
          <a:endParaRPr lang="en-US" sz="2800" kern="1200" dirty="0"/>
        </a:p>
      </dsp:txBody>
      <dsp:txXfrm rot="-5400000">
        <a:off x="3939487" y="257092"/>
        <a:ext cx="6931340" cy="1334456"/>
      </dsp:txXfrm>
    </dsp:sp>
    <dsp:sp modelId="{B0B6949E-1BB0-44DD-8F73-2D3B1A2D75E8}">
      <dsp:nvSpPr>
        <dsp:cNvPr id="0" name=""/>
        <dsp:cNvSpPr/>
      </dsp:nvSpPr>
      <dsp:spPr>
        <a:xfrm>
          <a:off x="0" y="46"/>
          <a:ext cx="3939486" cy="184854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IN" sz="4000" kern="1200" dirty="0"/>
            <a:t>Connect-</a:t>
          </a:r>
          <a:r>
            <a:rPr lang="en-IN" sz="4000" kern="1200" dirty="0" err="1"/>
            <a:t>SPOService</a:t>
          </a:r>
          <a:r>
            <a:rPr lang="en-IN" sz="4000" kern="1200" dirty="0"/>
            <a:t> </a:t>
          </a:r>
          <a:endParaRPr lang="en-US" sz="4000" kern="1200" dirty="0"/>
        </a:p>
      </dsp:txBody>
      <dsp:txXfrm>
        <a:off x="90239" y="90285"/>
        <a:ext cx="3759008" cy="1668069"/>
      </dsp:txXfrm>
    </dsp:sp>
    <dsp:sp modelId="{9F5EE5AE-4BF4-44E2-B0D1-FB764E2A97FD}">
      <dsp:nvSpPr>
        <dsp:cNvPr id="0" name=""/>
        <dsp:cNvSpPr/>
      </dsp:nvSpPr>
      <dsp:spPr>
        <a:xfrm rot="5400000">
          <a:off x="6701833" y="-636470"/>
          <a:ext cx="1478838" cy="7003531"/>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244600">
            <a:lnSpc>
              <a:spcPct val="90000"/>
            </a:lnSpc>
            <a:spcBef>
              <a:spcPct val="0"/>
            </a:spcBef>
            <a:spcAft>
              <a:spcPct val="15000"/>
            </a:spcAft>
            <a:buChar char="•"/>
          </a:pPr>
          <a:r>
            <a:rPr lang="en-IN" sz="2800" kern="1200" dirty="0"/>
            <a:t>Disconnect-</a:t>
          </a:r>
          <a:r>
            <a:rPr lang="en-IN" sz="2800" kern="1200" dirty="0" err="1"/>
            <a:t>SPOService</a:t>
          </a:r>
          <a:endParaRPr lang="en-US" sz="2800" kern="1200" dirty="0"/>
        </a:p>
      </dsp:txBody>
      <dsp:txXfrm rot="-5400000">
        <a:off x="3939487" y="2198067"/>
        <a:ext cx="6931340" cy="1334456"/>
      </dsp:txXfrm>
    </dsp:sp>
    <dsp:sp modelId="{522FA9D8-1B3E-49FA-8926-F750961608DE}">
      <dsp:nvSpPr>
        <dsp:cNvPr id="0" name=""/>
        <dsp:cNvSpPr/>
      </dsp:nvSpPr>
      <dsp:spPr>
        <a:xfrm>
          <a:off x="0" y="1941021"/>
          <a:ext cx="3939486" cy="184854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IN" sz="4000" kern="1200" dirty="0"/>
            <a:t>Disconnect-</a:t>
          </a:r>
          <a:r>
            <a:rPr lang="en-IN" sz="4000" kern="1200" dirty="0" err="1"/>
            <a:t>SPOService</a:t>
          </a:r>
          <a:r>
            <a:rPr lang="en-IN" sz="4000" kern="1200" dirty="0"/>
            <a:t> </a:t>
          </a:r>
          <a:endParaRPr lang="en-US" sz="4000" kern="1200" dirty="0"/>
        </a:p>
      </dsp:txBody>
      <dsp:txXfrm>
        <a:off x="90239" y="2031260"/>
        <a:ext cx="3759008" cy="166806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E81CFF-3030-45A0-9E95-CE0D0D0FBA9C}">
      <dsp:nvSpPr>
        <dsp:cNvPr id="0" name=""/>
        <dsp:cNvSpPr/>
      </dsp:nvSpPr>
      <dsp:spPr>
        <a:xfrm>
          <a:off x="0" y="26998"/>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et-SPOTenant -</a:t>
          </a:r>
          <a:r>
            <a:rPr lang="en-US" sz="2300" kern="1200" dirty="0" err="1"/>
            <a:t>LegacyAuthProtocolsEnabled</a:t>
          </a:r>
          <a:endParaRPr lang="nb-NO" sz="2300" kern="1200" dirty="0"/>
        </a:p>
      </dsp:txBody>
      <dsp:txXfrm>
        <a:off x="28900" y="55898"/>
        <a:ext cx="10822926" cy="534220"/>
      </dsp:txXfrm>
    </dsp:sp>
    <dsp:sp modelId="{0E3F0EFE-5D69-4483-8CD7-002A2BE13538}">
      <dsp:nvSpPr>
        <dsp:cNvPr id="0" name=""/>
        <dsp:cNvSpPr/>
      </dsp:nvSpPr>
      <dsp:spPr>
        <a:xfrm>
          <a:off x="0" y="619018"/>
          <a:ext cx="10880726" cy="190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By default this value is set to $True. </a:t>
          </a:r>
          <a:endParaRPr lang="nb-NO" sz="1800" kern="1200" dirty="0"/>
        </a:p>
        <a:p>
          <a:pPr marL="171450" lvl="1" indent="-171450" algn="l" defTabSz="800100">
            <a:lnSpc>
              <a:spcPct val="90000"/>
            </a:lnSpc>
            <a:spcBef>
              <a:spcPct val="0"/>
            </a:spcBef>
            <a:spcAft>
              <a:spcPct val="20000"/>
            </a:spcAft>
            <a:buChar char="•"/>
          </a:pPr>
          <a:r>
            <a:rPr lang="en-US" sz="1800" kern="1200" dirty="0"/>
            <a:t>A value of $False-Prevents Office clients using non-modern authentication protocols from accessing SharePoint Online resources.</a:t>
          </a:r>
        </a:p>
        <a:p>
          <a:pPr marL="171450" lvl="1" indent="-171450" algn="l" defTabSz="800100">
            <a:lnSpc>
              <a:spcPct val="90000"/>
            </a:lnSpc>
            <a:spcBef>
              <a:spcPct val="0"/>
            </a:spcBef>
            <a:spcAft>
              <a:spcPct val="20000"/>
            </a:spcAft>
            <a:buChar char="•"/>
          </a:pPr>
          <a:r>
            <a:rPr lang="en-US" sz="1800" kern="1200" dirty="0"/>
            <a:t>This may also prevent third-party apps from accessing SharePoint Online resources</a:t>
          </a:r>
        </a:p>
        <a:p>
          <a:pPr marL="171450" lvl="1" indent="-171450" algn="l" defTabSz="800100">
            <a:lnSpc>
              <a:spcPct val="90000"/>
            </a:lnSpc>
            <a:spcBef>
              <a:spcPct val="0"/>
            </a:spcBef>
            <a:spcAft>
              <a:spcPct val="20000"/>
            </a:spcAft>
            <a:buChar char="•"/>
          </a:pPr>
          <a:r>
            <a:rPr lang="en-US" sz="1800" kern="1200" dirty="0"/>
            <a:t>This will also block apps using the </a:t>
          </a:r>
          <a:r>
            <a:rPr lang="en-US" sz="1800" kern="1200" dirty="0" err="1"/>
            <a:t>SharePointOnlineCredentials</a:t>
          </a:r>
          <a:r>
            <a:rPr lang="en-US" sz="1800" kern="1200" dirty="0"/>
            <a:t> class to access SharePoint Online resources.</a:t>
          </a:r>
        </a:p>
      </dsp:txBody>
      <dsp:txXfrm>
        <a:off x="0" y="619018"/>
        <a:ext cx="10880726" cy="1904400"/>
      </dsp:txXfrm>
    </dsp:sp>
    <dsp:sp modelId="{45EF7D58-F259-4C47-9232-32F56EF1FF14}">
      <dsp:nvSpPr>
        <dsp:cNvPr id="0" name=""/>
        <dsp:cNvSpPr/>
      </dsp:nvSpPr>
      <dsp:spPr>
        <a:xfrm>
          <a:off x="0" y="2523418"/>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et-</a:t>
          </a:r>
          <a:r>
            <a:rPr lang="en-US" sz="2300" kern="1200" dirty="0" err="1"/>
            <a:t>SPOTenantCdnEnabled</a:t>
          </a:r>
          <a:endParaRPr lang="nb-NO" sz="2300" kern="1200" dirty="0"/>
        </a:p>
      </dsp:txBody>
      <dsp:txXfrm>
        <a:off x="28900" y="2552318"/>
        <a:ext cx="10822926" cy="534220"/>
      </dsp:txXfrm>
    </dsp:sp>
    <dsp:sp modelId="{D86D7E24-33F0-4696-90CB-7E9DC55AFC6D}">
      <dsp:nvSpPr>
        <dsp:cNvPr id="0" name=""/>
        <dsp:cNvSpPr/>
      </dsp:nvSpPr>
      <dsp:spPr>
        <a:xfrm>
          <a:off x="0" y="3115438"/>
          <a:ext cx="10880726" cy="607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Enables or disables Public content delivery network (CDN) or Private CDN on the tenant level.</a:t>
          </a:r>
          <a:br>
            <a:rPr lang="en-US" sz="1800" kern="1200" dirty="0"/>
          </a:br>
          <a:r>
            <a:rPr lang="en-US" sz="1800" kern="1200" dirty="0"/>
            <a:t>Set-</a:t>
          </a:r>
          <a:r>
            <a:rPr lang="en-US" sz="1800" kern="1200" dirty="0" err="1"/>
            <a:t>SPOTenantCdnEnabled</a:t>
          </a:r>
          <a:r>
            <a:rPr lang="en-US" sz="1800" kern="1200" dirty="0"/>
            <a:t> -</a:t>
          </a:r>
          <a:r>
            <a:rPr lang="en-US" sz="1800" kern="1200" dirty="0" err="1"/>
            <a:t>CdnType</a:t>
          </a:r>
          <a:r>
            <a:rPr lang="en-US" sz="1800" kern="1200" dirty="0"/>
            <a:t> &lt;Public | Private | Both&gt; -Enable $true</a:t>
          </a:r>
          <a:endParaRPr lang="nb-NO" sz="1800" kern="1200" dirty="0"/>
        </a:p>
      </dsp:txBody>
      <dsp:txXfrm>
        <a:off x="0" y="3115438"/>
        <a:ext cx="10880726" cy="607027"/>
      </dsp:txXfrm>
    </dsp:sp>
    <dsp:sp modelId="{A2ADA242-4888-4672-B1C4-0E030D8A8208}">
      <dsp:nvSpPr>
        <dsp:cNvPr id="0" name=""/>
        <dsp:cNvSpPr/>
      </dsp:nvSpPr>
      <dsp:spPr>
        <a:xfrm>
          <a:off x="0" y="3722466"/>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dd-</a:t>
          </a:r>
          <a:r>
            <a:rPr lang="en-US" sz="2300" kern="1200" dirty="0" err="1"/>
            <a:t>SPOTenantCdnOrigin</a:t>
          </a:r>
          <a:r>
            <a:rPr lang="en-US" sz="2300" kern="1200" dirty="0"/>
            <a:t> </a:t>
          </a:r>
          <a:endParaRPr lang="nb-NO" sz="2300" kern="1200" dirty="0"/>
        </a:p>
      </dsp:txBody>
      <dsp:txXfrm>
        <a:off x="28900" y="3751366"/>
        <a:ext cx="10822926" cy="534220"/>
      </dsp:txXfrm>
    </dsp:sp>
    <dsp:sp modelId="{F2911BE1-229C-4C96-AE03-78250CF9BD27}">
      <dsp:nvSpPr>
        <dsp:cNvPr id="0" name=""/>
        <dsp:cNvSpPr/>
      </dsp:nvSpPr>
      <dsp:spPr>
        <a:xfrm>
          <a:off x="0" y="4314486"/>
          <a:ext cx="10880726" cy="95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Use the Add-</a:t>
          </a:r>
          <a:r>
            <a:rPr lang="en-US" sz="1800" kern="1200" dirty="0" err="1"/>
            <a:t>SPOTenantCdnOrigin</a:t>
          </a:r>
          <a:r>
            <a:rPr lang="en-US" sz="1800" kern="1200" dirty="0"/>
            <a:t> cmdlet to define a site collection as a private origin within the Microsoft 365 CDN</a:t>
          </a:r>
          <a:endParaRPr lang="nb-NO" sz="1800" kern="1200" dirty="0"/>
        </a:p>
        <a:p>
          <a:pPr marL="171450" lvl="1" indent="-171450" algn="l" defTabSz="800100">
            <a:lnSpc>
              <a:spcPct val="90000"/>
            </a:lnSpc>
            <a:spcBef>
              <a:spcPct val="0"/>
            </a:spcBef>
            <a:spcAft>
              <a:spcPct val="20000"/>
            </a:spcAft>
            <a:buChar char="•"/>
          </a:pPr>
          <a:r>
            <a:rPr lang="en-US" sz="1800" kern="1200" dirty="0"/>
            <a:t>Add-</a:t>
          </a:r>
          <a:r>
            <a:rPr lang="en-US" sz="1800" kern="1200" dirty="0" err="1"/>
            <a:t>SPOTenantCdnOrigin</a:t>
          </a:r>
          <a:r>
            <a:rPr lang="en-US" sz="1800" kern="1200" dirty="0"/>
            <a:t> -</a:t>
          </a:r>
          <a:r>
            <a:rPr lang="en-US" sz="1800" kern="1200" dirty="0" err="1"/>
            <a:t>CdnType</a:t>
          </a:r>
          <a:r>
            <a:rPr lang="en-US" sz="1800" kern="1200" dirty="0"/>
            <a:t> Private -</a:t>
          </a:r>
          <a:r>
            <a:rPr lang="en-US" sz="1800" kern="1200" dirty="0" err="1"/>
            <a:t>OriginUrl</a:t>
          </a:r>
          <a:r>
            <a:rPr lang="en-US" sz="1800" kern="1200" dirty="0"/>
            <a:t> sites/site1/</a:t>
          </a:r>
          <a:r>
            <a:rPr lang="en-US" sz="1800" kern="1200" dirty="0" err="1"/>
            <a:t>siteassets</a:t>
          </a:r>
          <a:endParaRPr lang="nb-NO" sz="1800" kern="1200" dirty="0"/>
        </a:p>
      </dsp:txBody>
      <dsp:txXfrm>
        <a:off x="0" y="4314486"/>
        <a:ext cx="10880726" cy="9522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11843-9BC4-4EFB-A20D-58AFD5AC24D9}">
      <dsp:nvSpPr>
        <dsp:cNvPr id="0" name=""/>
        <dsp:cNvSpPr/>
      </dsp:nvSpPr>
      <dsp:spPr>
        <a:xfrm>
          <a:off x="0" y="9592"/>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Get-</a:t>
          </a:r>
          <a:r>
            <a:rPr lang="en-US" sz="2300" kern="1200" dirty="0" err="1"/>
            <a:t>SPOTenantSyncClientRestriction</a:t>
          </a:r>
          <a:endParaRPr lang="nb-NO" sz="2300" kern="1200" dirty="0"/>
        </a:p>
      </dsp:txBody>
      <dsp:txXfrm>
        <a:off x="28900" y="38492"/>
        <a:ext cx="10822926" cy="534220"/>
      </dsp:txXfrm>
    </dsp:sp>
    <dsp:sp modelId="{E6287671-3664-48BA-B26A-B18DDDD7786C}">
      <dsp:nvSpPr>
        <dsp:cNvPr id="0" name=""/>
        <dsp:cNvSpPr/>
      </dsp:nvSpPr>
      <dsp:spPr>
        <a:xfrm>
          <a:off x="0" y="601612"/>
          <a:ext cx="1088072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turns whether the property is True or False</a:t>
          </a:r>
          <a:endParaRPr lang="nb-NO" sz="1800" kern="1200" dirty="0"/>
        </a:p>
      </dsp:txBody>
      <dsp:txXfrm>
        <a:off x="0" y="601612"/>
        <a:ext cx="10880726" cy="380880"/>
      </dsp:txXfrm>
    </dsp:sp>
    <dsp:sp modelId="{3BB53DBE-167A-4AAC-BB00-254B90B1AB61}">
      <dsp:nvSpPr>
        <dsp:cNvPr id="0" name=""/>
        <dsp:cNvSpPr/>
      </dsp:nvSpPr>
      <dsp:spPr>
        <a:xfrm>
          <a:off x="0" y="982492"/>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Remove-</a:t>
          </a:r>
          <a:r>
            <a:rPr lang="en-US" sz="2300" kern="1200" dirty="0" err="1"/>
            <a:t>SPOTenantSyncClientRestriction</a:t>
          </a:r>
          <a:endParaRPr lang="nb-NO" sz="2300" kern="1200" dirty="0"/>
        </a:p>
      </dsp:txBody>
      <dsp:txXfrm>
        <a:off x="28900" y="1011392"/>
        <a:ext cx="10822926" cy="534220"/>
      </dsp:txXfrm>
    </dsp:sp>
    <dsp:sp modelId="{9A691183-0856-4417-94F3-D488C9A27C49}">
      <dsp:nvSpPr>
        <dsp:cNvPr id="0" name=""/>
        <dsp:cNvSpPr/>
      </dsp:nvSpPr>
      <dsp:spPr>
        <a:xfrm>
          <a:off x="0" y="1574512"/>
          <a:ext cx="10880726"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Disables existing sync client restrictions that are in place at the tenant level</a:t>
          </a:r>
          <a:endParaRPr lang="nb-NO" sz="1800" kern="1200" dirty="0"/>
        </a:p>
        <a:p>
          <a:pPr marL="171450" lvl="1" indent="-171450" algn="l" defTabSz="800100">
            <a:lnSpc>
              <a:spcPct val="90000"/>
            </a:lnSpc>
            <a:spcBef>
              <a:spcPct val="0"/>
            </a:spcBef>
            <a:spcAft>
              <a:spcPct val="20000"/>
            </a:spcAft>
            <a:buChar char="•"/>
          </a:pPr>
          <a:r>
            <a:rPr lang="en-US" sz="1800" kern="1200" dirty="0"/>
            <a:t>Note: May take up to 24 hours for change to take effect</a:t>
          </a:r>
          <a:endParaRPr lang="nb-NO" sz="1800" kern="1200" dirty="0"/>
        </a:p>
      </dsp:txBody>
      <dsp:txXfrm>
        <a:off x="0" y="1574512"/>
        <a:ext cx="10880726" cy="678442"/>
      </dsp:txXfrm>
    </dsp:sp>
    <dsp:sp modelId="{A7D9BA0F-49B6-46C4-ACCF-255967A23023}">
      <dsp:nvSpPr>
        <dsp:cNvPr id="0" name=""/>
        <dsp:cNvSpPr/>
      </dsp:nvSpPr>
      <dsp:spPr>
        <a:xfrm>
          <a:off x="0" y="2252955"/>
          <a:ext cx="10880726"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et-</a:t>
          </a:r>
          <a:r>
            <a:rPr lang="en-US" sz="2300" kern="1200" dirty="0" err="1"/>
            <a:t>SPOTenantSyncClientRestriction</a:t>
          </a:r>
          <a:endParaRPr lang="nb-NO" sz="2300" kern="1200" dirty="0"/>
        </a:p>
      </dsp:txBody>
      <dsp:txXfrm>
        <a:off x="28900" y="2281855"/>
        <a:ext cx="10822926" cy="534220"/>
      </dsp:txXfrm>
    </dsp:sp>
    <dsp:sp modelId="{12AA0DE4-76AD-438E-9945-C4C1D612422C}">
      <dsp:nvSpPr>
        <dsp:cNvPr id="0" name=""/>
        <dsp:cNvSpPr/>
      </dsp:nvSpPr>
      <dsp:spPr>
        <a:xfrm>
          <a:off x="0" y="2844975"/>
          <a:ext cx="10880726" cy="12140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Set-</a:t>
          </a:r>
          <a:r>
            <a:rPr lang="en-US" sz="1800" kern="1200" dirty="0" err="1"/>
            <a:t>SPOTenantSyncClientRestriction</a:t>
          </a:r>
          <a:r>
            <a:rPr lang="en-US" sz="1800" kern="1200" dirty="0"/>
            <a:t> -Enable -</a:t>
          </a:r>
          <a:r>
            <a:rPr lang="en-US" sz="1800" kern="1200" dirty="0" err="1"/>
            <a:t>DomainGuids</a:t>
          </a:r>
          <a:r>
            <a:rPr lang="en-US" sz="1800" kern="1200" dirty="0"/>
            <a:t> "786548DD-877B-4760-A749-6B1EFBC1190A; 877564FF-877B-4760-A749- 6B1EFBC1190A”</a:t>
          </a:r>
          <a:endParaRPr lang="nb-NO" sz="1800" kern="1200" dirty="0"/>
        </a:p>
        <a:p>
          <a:pPr marL="171450" lvl="1" indent="-171450" algn="l" defTabSz="800100">
            <a:lnSpc>
              <a:spcPct val="90000"/>
            </a:lnSpc>
            <a:spcBef>
              <a:spcPct val="0"/>
            </a:spcBef>
            <a:spcAft>
              <a:spcPct val="20000"/>
            </a:spcAft>
            <a:buChar char="•"/>
          </a:pPr>
          <a:r>
            <a:rPr lang="en-US" sz="1800" kern="1200"/>
            <a:t>Note</a:t>
          </a:r>
          <a:r>
            <a:rPr lang="en-US" sz="1800" kern="1200" dirty="0"/>
            <a:t>: Allows you to set domain GUIDs for the safe recipients list in the OneDrive for Business sync operation</a:t>
          </a:r>
          <a:endParaRPr lang="nb-NO" sz="1800" kern="1200" dirty="0"/>
        </a:p>
      </dsp:txBody>
      <dsp:txXfrm>
        <a:off x="0" y="2844975"/>
        <a:ext cx="10880726" cy="121405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47574-81F3-413F-867B-8B0E5168CEEF}">
      <dsp:nvSpPr>
        <dsp:cNvPr id="0" name=""/>
        <dsp:cNvSpPr/>
      </dsp:nvSpPr>
      <dsp:spPr>
        <a:xfrm>
          <a:off x="0" y="25904"/>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Use Set-SPOTenant to configure External User Sharing settings at the SPO tenant level</a:t>
          </a:r>
          <a:endParaRPr lang="en-US" sz="2200" kern="1200"/>
        </a:p>
      </dsp:txBody>
      <dsp:txXfrm>
        <a:off x="27644" y="53548"/>
        <a:ext cx="10825437" cy="510992"/>
      </dsp:txXfrm>
    </dsp:sp>
    <dsp:sp modelId="{8C573CD3-275F-46F3-927D-F7C3DEA147E8}">
      <dsp:nvSpPr>
        <dsp:cNvPr id="0" name=""/>
        <dsp:cNvSpPr/>
      </dsp:nvSpPr>
      <dsp:spPr>
        <a:xfrm>
          <a:off x="0" y="655544"/>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et-SPOTenant –SharingCapability</a:t>
          </a:r>
          <a:endParaRPr lang="en-US" sz="2200" kern="1200"/>
        </a:p>
      </dsp:txBody>
      <dsp:txXfrm>
        <a:off x="27644" y="683188"/>
        <a:ext cx="10825437" cy="510992"/>
      </dsp:txXfrm>
    </dsp:sp>
    <dsp:sp modelId="{B2441176-D090-4680-ACCF-256A2BA5549C}">
      <dsp:nvSpPr>
        <dsp:cNvPr id="0" name=""/>
        <dsp:cNvSpPr/>
      </dsp:nvSpPr>
      <dsp:spPr>
        <a:xfrm>
          <a:off x="0" y="1221825"/>
          <a:ext cx="10880725" cy="1502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Disabled – External user sharing (share by email) and guest link sharing are both disabled</a:t>
          </a:r>
          <a:endParaRPr lang="en-US" sz="1700" kern="1200"/>
        </a:p>
        <a:p>
          <a:pPr marL="171450" lvl="1" indent="-171450" algn="l" defTabSz="755650">
            <a:lnSpc>
              <a:spcPct val="90000"/>
            </a:lnSpc>
            <a:spcBef>
              <a:spcPct val="0"/>
            </a:spcBef>
            <a:spcAft>
              <a:spcPct val="20000"/>
            </a:spcAft>
            <a:buChar char="•"/>
          </a:pPr>
          <a:r>
            <a:rPr lang="en-US" sz="1700" kern="1200" baseline="0"/>
            <a:t>ExternalUserSharingOnly – External user sharing (share by email) is enabled, but guest link sharing is disabled</a:t>
          </a:r>
          <a:endParaRPr lang="en-US" sz="1700" kern="1200"/>
        </a:p>
        <a:p>
          <a:pPr marL="171450" lvl="1" indent="-171450" algn="l" defTabSz="755650">
            <a:lnSpc>
              <a:spcPct val="90000"/>
            </a:lnSpc>
            <a:spcBef>
              <a:spcPct val="0"/>
            </a:spcBef>
            <a:spcAft>
              <a:spcPct val="20000"/>
            </a:spcAft>
            <a:buChar char="•"/>
          </a:pPr>
          <a:r>
            <a:rPr lang="en-US" sz="1700" kern="1200" baseline="0"/>
            <a:t>ExternalUserAndGuestSharing - External user sharing (share by email) and guest link sharing are both enabled</a:t>
          </a:r>
          <a:endParaRPr lang="en-US" sz="1700" kern="1200"/>
        </a:p>
      </dsp:txBody>
      <dsp:txXfrm>
        <a:off x="0" y="1221825"/>
        <a:ext cx="10880725" cy="1502820"/>
      </dsp:txXfrm>
    </dsp:sp>
    <dsp:sp modelId="{A308C1A3-DD62-4D2C-8D7F-72A6AFD67539}">
      <dsp:nvSpPr>
        <dsp:cNvPr id="0" name=""/>
        <dsp:cNvSpPr/>
      </dsp:nvSpPr>
      <dsp:spPr>
        <a:xfrm>
          <a:off x="0" y="2724645"/>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et-SPOTenant –RequireAcceptingAccountMatchInvitedAccount</a:t>
          </a:r>
          <a:endParaRPr lang="en-US" sz="2200" kern="1200"/>
        </a:p>
      </dsp:txBody>
      <dsp:txXfrm>
        <a:off x="27644" y="2752289"/>
        <a:ext cx="10825437" cy="510992"/>
      </dsp:txXfrm>
    </dsp:sp>
    <dsp:sp modelId="{F6C87283-7D36-40D8-862A-9F283DA7C6DB}">
      <dsp:nvSpPr>
        <dsp:cNvPr id="0" name=""/>
        <dsp:cNvSpPr/>
      </dsp:nvSpPr>
      <dsp:spPr>
        <a:xfrm>
          <a:off x="0" y="3290925"/>
          <a:ext cx="10880725" cy="1502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True or False </a:t>
          </a:r>
          <a:endParaRPr lang="en-US" sz="1700" kern="1200"/>
        </a:p>
        <a:p>
          <a:pPr marL="171450" lvl="1" indent="-171450" algn="l" defTabSz="755650">
            <a:lnSpc>
              <a:spcPct val="90000"/>
            </a:lnSpc>
            <a:spcBef>
              <a:spcPct val="0"/>
            </a:spcBef>
            <a:spcAft>
              <a:spcPct val="20000"/>
            </a:spcAft>
            <a:buChar char="•"/>
          </a:pPr>
          <a:r>
            <a:rPr lang="en-US" sz="1700" kern="1200" baseline="0"/>
            <a:t>Ensures that an external user can only accept an external sharing invitation with an account matching the invited email address</a:t>
          </a:r>
          <a:endParaRPr lang="en-US" sz="1700" kern="1200"/>
        </a:p>
        <a:p>
          <a:pPr marL="171450" lvl="1" indent="-171450" algn="l" defTabSz="755650">
            <a:lnSpc>
              <a:spcPct val="90000"/>
            </a:lnSpc>
            <a:spcBef>
              <a:spcPct val="0"/>
            </a:spcBef>
            <a:spcAft>
              <a:spcPct val="20000"/>
            </a:spcAft>
            <a:buChar char="•"/>
          </a:pPr>
          <a:r>
            <a:rPr lang="en-US" sz="1700" kern="1200" baseline="0"/>
            <a:t>Administrators who desire increased control over external collaborators should consider enabling this feature</a:t>
          </a:r>
          <a:endParaRPr lang="en-US" sz="1700" kern="1200"/>
        </a:p>
      </dsp:txBody>
      <dsp:txXfrm>
        <a:off x="0" y="3290925"/>
        <a:ext cx="10880725" cy="150282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73334-A60C-46C3-9827-200FBE18B182}">
      <dsp:nvSpPr>
        <dsp:cNvPr id="0" name=""/>
        <dsp:cNvSpPr/>
      </dsp:nvSpPr>
      <dsp:spPr>
        <a:xfrm>
          <a:off x="0" y="390579"/>
          <a:ext cx="10880726" cy="6435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Use Set-</a:t>
          </a:r>
          <a:r>
            <a:rPr lang="en-US" sz="2500" kern="1200" dirty="0" err="1"/>
            <a:t>SPOSite</a:t>
          </a:r>
          <a:r>
            <a:rPr lang="en-US" sz="2500" kern="1200" dirty="0"/>
            <a:t> to configure External User Sharing settings on an SPO site</a:t>
          </a:r>
          <a:endParaRPr lang="nb-NO" sz="2500" kern="1200" dirty="0"/>
        </a:p>
      </dsp:txBody>
      <dsp:txXfrm>
        <a:off x="31413" y="421992"/>
        <a:ext cx="10817900" cy="580674"/>
      </dsp:txXfrm>
    </dsp:sp>
    <dsp:sp modelId="{542471D6-9123-4515-9F2F-4207DDB53F9B}">
      <dsp:nvSpPr>
        <dsp:cNvPr id="0" name=""/>
        <dsp:cNvSpPr/>
      </dsp:nvSpPr>
      <dsp:spPr>
        <a:xfrm>
          <a:off x="0" y="1106079"/>
          <a:ext cx="10880726" cy="6435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Set-</a:t>
          </a:r>
          <a:r>
            <a:rPr lang="en-US" sz="2500" kern="1200" dirty="0" err="1"/>
            <a:t>SPOsite</a:t>
          </a:r>
          <a:r>
            <a:rPr lang="en-US" sz="2500" kern="1200" dirty="0"/>
            <a:t> –Identity (site URL) -</a:t>
          </a:r>
          <a:r>
            <a:rPr lang="en-US" sz="2500" kern="1200" dirty="0" err="1"/>
            <a:t>SharingCapability</a:t>
          </a:r>
          <a:endParaRPr lang="nb-NO" sz="2500" kern="1200" dirty="0"/>
        </a:p>
      </dsp:txBody>
      <dsp:txXfrm>
        <a:off x="31413" y="1137492"/>
        <a:ext cx="10817900" cy="580674"/>
      </dsp:txXfrm>
    </dsp:sp>
    <dsp:sp modelId="{B162625F-46C7-4A4B-9111-6216F8FE8C8A}">
      <dsp:nvSpPr>
        <dsp:cNvPr id="0" name=""/>
        <dsp:cNvSpPr/>
      </dsp:nvSpPr>
      <dsp:spPr>
        <a:xfrm>
          <a:off x="0" y="1749579"/>
          <a:ext cx="10880726" cy="1759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Disabled – External user sharing (share by email) and guest link sharing are both disabled</a:t>
          </a:r>
          <a:endParaRPr lang="nb-NO" sz="2000" kern="1200" dirty="0"/>
        </a:p>
        <a:p>
          <a:pPr marL="228600" lvl="1" indent="-228600" algn="l" defTabSz="889000">
            <a:lnSpc>
              <a:spcPct val="90000"/>
            </a:lnSpc>
            <a:spcBef>
              <a:spcPct val="0"/>
            </a:spcBef>
            <a:spcAft>
              <a:spcPct val="20000"/>
            </a:spcAft>
            <a:buChar char="•"/>
          </a:pPr>
          <a:r>
            <a:rPr lang="en-US" sz="2000" kern="1200" dirty="0" err="1"/>
            <a:t>ExternalUserSharingOnly</a:t>
          </a:r>
          <a:r>
            <a:rPr lang="en-US" sz="2000" kern="1200" dirty="0"/>
            <a:t> – External user sharing (share by email) is enabled, but guest link sharing is disabled</a:t>
          </a:r>
          <a:endParaRPr lang="nb-NO" sz="2000" kern="1200" dirty="0"/>
        </a:p>
        <a:p>
          <a:pPr marL="228600" lvl="1" indent="-228600" algn="l" defTabSz="889000">
            <a:lnSpc>
              <a:spcPct val="90000"/>
            </a:lnSpc>
            <a:spcBef>
              <a:spcPct val="0"/>
            </a:spcBef>
            <a:spcAft>
              <a:spcPct val="20000"/>
            </a:spcAft>
            <a:buChar char="•"/>
          </a:pPr>
          <a:r>
            <a:rPr lang="en-US" sz="2000" kern="1200" dirty="0" err="1"/>
            <a:t>ExternalUserAndGuestSharing</a:t>
          </a:r>
          <a:r>
            <a:rPr lang="en-US" sz="2000" kern="1200" dirty="0"/>
            <a:t> - External user sharing (share by email) and guest link sharing are both enabled</a:t>
          </a:r>
          <a:endParaRPr lang="nb-NO" sz="2000" kern="1200" dirty="0"/>
        </a:p>
      </dsp:txBody>
      <dsp:txXfrm>
        <a:off x="0" y="1749579"/>
        <a:ext cx="10880726" cy="17595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7807A2-1104-4A51-82F5-12EEDC1D6190}">
      <dsp:nvSpPr>
        <dsp:cNvPr id="0" name=""/>
        <dsp:cNvSpPr/>
      </dsp:nvSpPr>
      <dsp:spPr>
        <a:xfrm>
          <a:off x="0" y="301092"/>
          <a:ext cx="10880726"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Use Set-</a:t>
          </a:r>
          <a:r>
            <a:rPr lang="en-US" sz="2200" kern="1200" dirty="0" err="1"/>
            <a:t>SPOTenant</a:t>
          </a:r>
          <a:r>
            <a:rPr lang="en-US" sz="2200" kern="1200" dirty="0"/>
            <a:t> to configure External Sharing domain restriction at the SPO tenant level</a:t>
          </a:r>
          <a:endParaRPr lang="nb-NO" sz="2200" kern="1200" dirty="0"/>
        </a:p>
      </dsp:txBody>
      <dsp:txXfrm>
        <a:off x="46491" y="347583"/>
        <a:ext cx="10787744" cy="859398"/>
      </dsp:txXfrm>
    </dsp:sp>
    <dsp:sp modelId="{2E03E549-EA63-497E-AEE2-C3AB1B0F580C}">
      <dsp:nvSpPr>
        <dsp:cNvPr id="0" name=""/>
        <dsp:cNvSpPr/>
      </dsp:nvSpPr>
      <dsp:spPr>
        <a:xfrm>
          <a:off x="0" y="1316832"/>
          <a:ext cx="10880726"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Set-</a:t>
          </a:r>
          <a:r>
            <a:rPr lang="en-US" sz="2200" kern="1200" dirty="0" err="1"/>
            <a:t>SPOTenant</a:t>
          </a:r>
          <a:r>
            <a:rPr lang="en-US" sz="2200" kern="1200" dirty="0"/>
            <a:t> –</a:t>
          </a:r>
          <a:r>
            <a:rPr lang="en-US" sz="2200" kern="1200" dirty="0" err="1"/>
            <a:t>SharingDomainRestrictionMode</a:t>
          </a:r>
          <a:endParaRPr lang="nb-NO" sz="2200" kern="1200" dirty="0"/>
        </a:p>
      </dsp:txBody>
      <dsp:txXfrm>
        <a:off x="46491" y="1363323"/>
        <a:ext cx="10787744" cy="859398"/>
      </dsp:txXfrm>
    </dsp:sp>
    <dsp:sp modelId="{AD7D0B9D-B953-4B79-975C-0D0E1108B154}">
      <dsp:nvSpPr>
        <dsp:cNvPr id="0" name=""/>
        <dsp:cNvSpPr/>
      </dsp:nvSpPr>
      <dsp:spPr>
        <a:xfrm>
          <a:off x="0" y="2269212"/>
          <a:ext cx="10880726" cy="2686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None – External sharing invitations can be sent to any email domain</a:t>
          </a:r>
          <a:endParaRPr lang="nb-NO" sz="1700" kern="1200" dirty="0"/>
        </a:p>
        <a:p>
          <a:pPr marL="171450" lvl="1" indent="-171450" algn="l" defTabSz="755650">
            <a:lnSpc>
              <a:spcPct val="90000"/>
            </a:lnSpc>
            <a:spcBef>
              <a:spcPct val="0"/>
            </a:spcBef>
            <a:spcAft>
              <a:spcPct val="20000"/>
            </a:spcAft>
            <a:buChar char="•"/>
          </a:pPr>
          <a:r>
            <a:rPr lang="nb-NO" sz="1700" kern="1200" dirty="0"/>
            <a:t>AllowList – External sharing invitations can only be sent to email domains in the SharingAllowedDomainList</a:t>
          </a:r>
        </a:p>
        <a:p>
          <a:pPr marL="171450" lvl="1" indent="-171450" algn="l" defTabSz="755650">
            <a:lnSpc>
              <a:spcPct val="90000"/>
            </a:lnSpc>
            <a:spcBef>
              <a:spcPct val="0"/>
            </a:spcBef>
            <a:spcAft>
              <a:spcPct val="20000"/>
            </a:spcAft>
            <a:buChar char="•"/>
          </a:pPr>
          <a:r>
            <a:rPr lang="nb-NO" sz="1700" kern="1200" dirty="0"/>
            <a:t>BlockList - External sharing invitations can not be sent to email domains in the SharingBlockedDomainList</a:t>
          </a:r>
        </a:p>
        <a:p>
          <a:pPr marL="171450" lvl="1" indent="-171450" algn="l" defTabSz="755650">
            <a:lnSpc>
              <a:spcPct val="90000"/>
            </a:lnSpc>
            <a:spcBef>
              <a:spcPct val="0"/>
            </a:spcBef>
            <a:spcAft>
              <a:spcPct val="20000"/>
            </a:spcAft>
            <a:buChar char="•"/>
          </a:pPr>
          <a:r>
            <a:rPr lang="nb-NO" sz="1700" kern="1200" dirty="0"/>
            <a:t>NOTE: Using the AllowList setting is the most restrictive The AllowList and BlockList settings cannot be used together. </a:t>
          </a:r>
        </a:p>
        <a:p>
          <a:pPr marL="171450" lvl="1" indent="-171450" algn="l" defTabSz="755650">
            <a:lnSpc>
              <a:spcPct val="90000"/>
            </a:lnSpc>
            <a:spcBef>
              <a:spcPct val="0"/>
            </a:spcBef>
            <a:spcAft>
              <a:spcPct val="20000"/>
            </a:spcAft>
            <a:buChar char="•"/>
          </a:pPr>
          <a:r>
            <a:rPr lang="en-US" sz="1700" kern="1200" dirty="0"/>
            <a:t>Set-</a:t>
          </a:r>
          <a:r>
            <a:rPr lang="en-US" sz="1700" kern="1200" dirty="0" err="1"/>
            <a:t>SPOTenant</a:t>
          </a:r>
          <a:r>
            <a:rPr lang="en-US" sz="1700" kern="1200" dirty="0"/>
            <a:t> –</a:t>
          </a:r>
          <a:r>
            <a:rPr lang="en-US" sz="1700" kern="1200" dirty="0" err="1"/>
            <a:t>SharingAllowedDomainList</a:t>
          </a:r>
          <a:r>
            <a:rPr lang="en-US" sz="1700" kern="1200" dirty="0"/>
            <a:t> - specifies a list of email domains that is allowed for sharing with the external collaborators. </a:t>
          </a:r>
          <a:endParaRPr lang="nb-NO" sz="1700" kern="1200" dirty="0"/>
        </a:p>
        <a:p>
          <a:pPr marL="171450" lvl="1" indent="-171450" algn="l" defTabSz="755650">
            <a:lnSpc>
              <a:spcPct val="90000"/>
            </a:lnSpc>
            <a:spcBef>
              <a:spcPct val="0"/>
            </a:spcBef>
            <a:spcAft>
              <a:spcPct val="20000"/>
            </a:spcAft>
            <a:buChar char="•"/>
          </a:pPr>
          <a:r>
            <a:rPr lang="en-US" sz="1700" kern="1200" dirty="0"/>
            <a:t>Set-</a:t>
          </a:r>
          <a:r>
            <a:rPr lang="en-US" sz="1700" kern="1200" dirty="0" err="1"/>
            <a:t>SPOTenant</a:t>
          </a:r>
          <a:r>
            <a:rPr lang="en-US" sz="1700" kern="1200" dirty="0"/>
            <a:t> –</a:t>
          </a:r>
          <a:r>
            <a:rPr lang="en-US" sz="1700" kern="1200" dirty="0" err="1"/>
            <a:t>SharingBlockedDomainList</a:t>
          </a:r>
          <a:r>
            <a:rPr lang="en-US" sz="1700" kern="1200" dirty="0"/>
            <a:t> - specifies a list of email domains that are blocked or prohibited for sharing with the external collaborators. </a:t>
          </a:r>
          <a:endParaRPr lang="nb-NO" sz="1700" kern="1200" dirty="0"/>
        </a:p>
      </dsp:txBody>
      <dsp:txXfrm>
        <a:off x="0" y="2269212"/>
        <a:ext cx="10880726" cy="268686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B0C613-D13B-4C35-9218-05735F0CD7B8}">
      <dsp:nvSpPr>
        <dsp:cNvPr id="0" name=""/>
        <dsp:cNvSpPr/>
      </dsp:nvSpPr>
      <dsp:spPr>
        <a:xfrm>
          <a:off x="0" y="3855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Get-Help</a:t>
          </a:r>
          <a:endParaRPr lang="nb-NO" sz="2300" kern="1200"/>
        </a:p>
      </dsp:txBody>
      <dsp:txXfrm>
        <a:off x="28900" y="67450"/>
        <a:ext cx="10822925" cy="534220"/>
      </dsp:txXfrm>
    </dsp:sp>
    <dsp:sp modelId="{0F391A78-7CC8-4EED-967A-8C075C421A75}">
      <dsp:nvSpPr>
        <dsp:cNvPr id="0" name=""/>
        <dsp:cNvSpPr/>
      </dsp:nvSpPr>
      <dsp:spPr>
        <a:xfrm>
          <a:off x="0" y="69681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FL    - Format List </a:t>
          </a:r>
          <a:endParaRPr lang="nb-NO" sz="2300" kern="1200"/>
        </a:p>
      </dsp:txBody>
      <dsp:txXfrm>
        <a:off x="28900" y="725710"/>
        <a:ext cx="10822925" cy="534220"/>
      </dsp:txXfrm>
    </dsp:sp>
    <dsp:sp modelId="{E66027F3-A0C6-4F96-8568-300664E8980C}">
      <dsp:nvSpPr>
        <dsp:cNvPr id="0" name=""/>
        <dsp:cNvSpPr/>
      </dsp:nvSpPr>
      <dsp:spPr>
        <a:xfrm>
          <a:off x="0" y="135507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FT    - </a:t>
          </a:r>
          <a:r>
            <a:rPr lang="en-US" sz="2300" kern="1200"/>
            <a:t>Format Table </a:t>
          </a:r>
          <a:endParaRPr lang="nb-NO" sz="2300" kern="1200" dirty="0"/>
        </a:p>
      </dsp:txBody>
      <dsp:txXfrm>
        <a:off x="28900" y="1383970"/>
        <a:ext cx="10822925" cy="5342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68AD80-41B5-430E-9DD6-396E38746D20}">
      <dsp:nvSpPr>
        <dsp:cNvPr id="0" name=""/>
        <dsp:cNvSpPr/>
      </dsp:nvSpPr>
      <dsp:spPr>
        <a:xfrm>
          <a:off x="0" y="31961"/>
          <a:ext cx="10880726" cy="125540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Use the Get-help command to get help with other SharePoint Online commands.</a:t>
          </a:r>
          <a:endParaRPr lang="nb-NO" sz="2900" kern="1200" dirty="0"/>
        </a:p>
      </dsp:txBody>
      <dsp:txXfrm>
        <a:off x="61284" y="93245"/>
        <a:ext cx="10758158" cy="1132841"/>
      </dsp:txXfrm>
    </dsp:sp>
    <dsp:sp modelId="{2910C1A8-B5D6-43B0-A9CC-F9A652EFC570}">
      <dsp:nvSpPr>
        <dsp:cNvPr id="0" name=""/>
        <dsp:cNvSpPr/>
      </dsp:nvSpPr>
      <dsp:spPr>
        <a:xfrm>
          <a:off x="0" y="1287371"/>
          <a:ext cx="10880726"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Get-Help &lt;command&gt; –detailed </a:t>
          </a:r>
          <a:endParaRPr lang="nb-NO" sz="2300" kern="1200" dirty="0"/>
        </a:p>
      </dsp:txBody>
      <dsp:txXfrm>
        <a:off x="0" y="1287371"/>
        <a:ext cx="10880726" cy="480240"/>
      </dsp:txXfrm>
    </dsp:sp>
    <dsp:sp modelId="{075BF9B2-84C8-481C-8EF3-218B1B3D6A42}">
      <dsp:nvSpPr>
        <dsp:cNvPr id="0" name=""/>
        <dsp:cNvSpPr/>
      </dsp:nvSpPr>
      <dsp:spPr>
        <a:xfrm>
          <a:off x="0" y="1767611"/>
          <a:ext cx="10880726" cy="125540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Provides the name, synopsis, syntax, description, related links, and remarks for the</a:t>
          </a:r>
          <a:endParaRPr lang="nb-NO" sz="2900" kern="1200"/>
        </a:p>
      </dsp:txBody>
      <dsp:txXfrm>
        <a:off x="61284" y="1828895"/>
        <a:ext cx="10758158" cy="1132841"/>
      </dsp:txXfrm>
    </dsp:sp>
    <dsp:sp modelId="{D0398CF2-E967-4728-98AC-B5DEDEDACA2A}">
      <dsp:nvSpPr>
        <dsp:cNvPr id="0" name=""/>
        <dsp:cNvSpPr/>
      </dsp:nvSpPr>
      <dsp:spPr>
        <a:xfrm>
          <a:off x="0" y="3023021"/>
          <a:ext cx="10880726"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a:t>For example: Get-help Get-SPOtenant –detailed </a:t>
          </a:r>
          <a:endParaRPr lang="nb-NO" sz="2300" kern="1200"/>
        </a:p>
      </dsp:txBody>
      <dsp:txXfrm>
        <a:off x="0" y="3023021"/>
        <a:ext cx="10880726" cy="48024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5D1F27-B19D-41D2-9565-555BD5026A07}">
      <dsp:nvSpPr>
        <dsp:cNvPr id="0" name=""/>
        <dsp:cNvSpPr/>
      </dsp:nvSpPr>
      <dsp:spPr>
        <a:xfrm>
          <a:off x="0" y="479988"/>
          <a:ext cx="10880726" cy="13671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icrosoft.com download</a:t>
          </a:r>
          <a:endParaRPr lang="nb-NO" sz="1800" kern="1200" dirty="0"/>
        </a:p>
        <a:p>
          <a:pPr marL="171450" lvl="1" indent="-171450" algn="l" defTabSz="800100">
            <a:lnSpc>
              <a:spcPct val="90000"/>
            </a:lnSpc>
            <a:spcBef>
              <a:spcPct val="0"/>
            </a:spcBef>
            <a:spcAft>
              <a:spcPct val="15000"/>
            </a:spcAft>
            <a:buChar char="•"/>
          </a:pPr>
          <a:r>
            <a:rPr lang="nb-NO" sz="1800" kern="1200" dirty="0"/>
            <a:t>Can also be installed via Install Module command in PowerShell session</a:t>
          </a:r>
        </a:p>
      </dsp:txBody>
      <dsp:txXfrm>
        <a:off x="0" y="479988"/>
        <a:ext cx="10880726" cy="1367100"/>
      </dsp:txXfrm>
    </dsp:sp>
    <dsp:sp modelId="{E19422D8-0888-4B03-B8D7-F1FA78FBC98B}">
      <dsp:nvSpPr>
        <dsp:cNvPr id="0" name=""/>
        <dsp:cNvSpPr/>
      </dsp:nvSpPr>
      <dsp:spPr>
        <a:xfrm>
          <a:off x="544036" y="22428"/>
          <a:ext cx="7616508"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ere can one obtain the SharePoint Online Management Shell?</a:t>
          </a:r>
          <a:endParaRPr lang="nb-NO" sz="1800" kern="1200" dirty="0"/>
        </a:p>
      </dsp:txBody>
      <dsp:txXfrm>
        <a:off x="588708" y="67100"/>
        <a:ext cx="7527164" cy="825776"/>
      </dsp:txXfrm>
    </dsp:sp>
    <dsp:sp modelId="{EDDDC83A-3FD6-4F45-A949-7AF96F3472CC}">
      <dsp:nvSpPr>
        <dsp:cNvPr id="0" name=""/>
        <dsp:cNvSpPr/>
      </dsp:nvSpPr>
      <dsp:spPr>
        <a:xfrm>
          <a:off x="0" y="2472048"/>
          <a:ext cx="10880726" cy="104973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nect-</a:t>
          </a:r>
          <a:r>
            <a:rPr lang="en-US" sz="1800" kern="1200" dirty="0" err="1"/>
            <a:t>SPOService</a:t>
          </a:r>
          <a:endParaRPr lang="nb-NO" sz="1800" kern="1200" dirty="0"/>
        </a:p>
      </dsp:txBody>
      <dsp:txXfrm>
        <a:off x="0" y="2472048"/>
        <a:ext cx="10880726" cy="1049737"/>
      </dsp:txXfrm>
    </dsp:sp>
    <dsp:sp modelId="{146D1F55-B418-43AF-A991-B9FC09BE5471}">
      <dsp:nvSpPr>
        <dsp:cNvPr id="0" name=""/>
        <dsp:cNvSpPr/>
      </dsp:nvSpPr>
      <dsp:spPr>
        <a:xfrm>
          <a:off x="544036" y="2014488"/>
          <a:ext cx="7616508"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at SharePoint Online Management Shell cmdlet must you run before any other SharePoint Online cmdlets?</a:t>
          </a:r>
          <a:endParaRPr lang="nb-NO" sz="1800" kern="1200" dirty="0"/>
        </a:p>
      </dsp:txBody>
      <dsp:txXfrm>
        <a:off x="588708" y="2059160"/>
        <a:ext cx="7527164" cy="825776"/>
      </dsp:txXfrm>
    </dsp:sp>
    <dsp:sp modelId="{5A82716C-64EF-4BC2-AD61-8232B340EF2A}">
      <dsp:nvSpPr>
        <dsp:cNvPr id="0" name=""/>
        <dsp:cNvSpPr/>
      </dsp:nvSpPr>
      <dsp:spPr>
        <a:xfrm>
          <a:off x="0" y="4146746"/>
          <a:ext cx="10880726" cy="1342687"/>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4566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t-</a:t>
          </a:r>
          <a:r>
            <a:rPr lang="en-US" sz="1800" kern="1200" dirty="0" err="1"/>
            <a:t>SPOTenant</a:t>
          </a:r>
          <a:r>
            <a:rPr lang="en-US" sz="1800" kern="1200" dirty="0"/>
            <a:t> -</a:t>
          </a:r>
          <a:r>
            <a:rPr lang="en-US" sz="1800" kern="1200" dirty="0" err="1"/>
            <a:t>SharingAllowedDomainList</a:t>
          </a:r>
          <a:br>
            <a:rPr lang="en-US" sz="1800" kern="1200" dirty="0"/>
          </a:br>
          <a:endParaRPr lang="nb-NO" sz="1800" kern="1200" dirty="0"/>
        </a:p>
      </dsp:txBody>
      <dsp:txXfrm>
        <a:off x="0" y="4146746"/>
        <a:ext cx="10880726" cy="1342687"/>
      </dsp:txXfrm>
    </dsp:sp>
    <dsp:sp modelId="{335E8F22-1029-4978-8079-FE218E8985CC}">
      <dsp:nvSpPr>
        <dsp:cNvPr id="0" name=""/>
        <dsp:cNvSpPr/>
      </dsp:nvSpPr>
      <dsp:spPr>
        <a:xfrm>
          <a:off x="544036" y="3689186"/>
          <a:ext cx="7616508" cy="9151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IN" sz="1800" kern="1200" dirty="0"/>
            <a:t>What SharePoint Online Management Shell cmdlet would you run if you want to </a:t>
          </a:r>
          <a:r>
            <a:rPr lang="en-US" sz="1800" kern="1200" dirty="0"/>
            <a:t>define a list of email domains that are allowed for sharing with the external collaborators</a:t>
          </a:r>
          <a:endParaRPr lang="nb-NO" sz="1800" kern="1200" dirty="0"/>
        </a:p>
      </dsp:txBody>
      <dsp:txXfrm>
        <a:off x="588708" y="3733858"/>
        <a:ext cx="7527164" cy="8257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6425F9-12E1-4551-9FCB-7F3D5393AAE9}">
      <dsp:nvSpPr>
        <dsp:cNvPr id="0" name=""/>
        <dsp:cNvSpPr/>
      </dsp:nvSpPr>
      <dsp:spPr>
        <a:xfrm>
          <a:off x="0" y="1132"/>
          <a:ext cx="10855960"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Get-Command –Module </a:t>
          </a:r>
          <a:r>
            <a:rPr lang="en-US" sz="2000" kern="1200" err="1"/>
            <a:t>Microsoft.Online.SharePoint.PowerShell</a:t>
          </a:r>
          <a:endParaRPr lang="nb-NO" sz="2000" kern="1200"/>
        </a:p>
      </dsp:txBody>
      <dsp:txXfrm>
        <a:off x="25130" y="26262"/>
        <a:ext cx="10805700" cy="4645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1D8D8D-64AB-4EF4-A033-DF1B62C3FA69}">
      <dsp:nvSpPr>
        <dsp:cNvPr id="0" name=""/>
        <dsp:cNvSpPr/>
      </dsp:nvSpPr>
      <dsp:spPr>
        <a:xfrm>
          <a:off x="0" y="75019"/>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Add-</a:t>
          </a:r>
          <a:r>
            <a:rPr lang="en-US" sz="2100" kern="1200" dirty="0" err="1"/>
            <a:t>SPOUser</a:t>
          </a:r>
          <a:endParaRPr lang="nb-NO" sz="2100" kern="1200" dirty="0"/>
        </a:p>
      </dsp:txBody>
      <dsp:txXfrm>
        <a:off x="26387" y="101406"/>
        <a:ext cx="10827951" cy="487766"/>
      </dsp:txXfrm>
    </dsp:sp>
    <dsp:sp modelId="{45AFBD70-A49A-4437-9B50-566A7513C31D}">
      <dsp:nvSpPr>
        <dsp:cNvPr id="0" name=""/>
        <dsp:cNvSpPr/>
      </dsp:nvSpPr>
      <dsp:spPr>
        <a:xfrm>
          <a:off x="0" y="615559"/>
          <a:ext cx="10880725" cy="543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Add-</a:t>
          </a:r>
          <a:r>
            <a:rPr lang="en-US" sz="1600" kern="1200" dirty="0" err="1"/>
            <a:t>SPOUser</a:t>
          </a:r>
          <a:r>
            <a:rPr lang="en-US" sz="1600" kern="1200" dirty="0"/>
            <a:t> -Site https://contoso.sharepoint.com/sites/marketing -</a:t>
          </a:r>
          <a:r>
            <a:rPr lang="en-US" sz="1600" kern="1200" dirty="0" err="1"/>
            <a:t>LoginName</a:t>
          </a:r>
          <a:r>
            <a:rPr lang="en-US" sz="1600" kern="1200" dirty="0"/>
            <a:t> joe.healy@contoso.com -Group "SC1 Owners" </a:t>
          </a:r>
          <a:endParaRPr lang="nb-NO" sz="1600" kern="1200" dirty="0"/>
        </a:p>
      </dsp:txBody>
      <dsp:txXfrm>
        <a:off x="0" y="615559"/>
        <a:ext cx="10880725" cy="543375"/>
      </dsp:txXfrm>
    </dsp:sp>
    <dsp:sp modelId="{D8FB4D3C-FA37-42EC-BB69-8A25BC874D6C}">
      <dsp:nvSpPr>
        <dsp:cNvPr id="0" name=""/>
        <dsp:cNvSpPr/>
      </dsp:nvSpPr>
      <dsp:spPr>
        <a:xfrm>
          <a:off x="0" y="115893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Get-</a:t>
          </a:r>
          <a:r>
            <a:rPr lang="en-US" sz="2100" kern="1200" dirty="0" err="1"/>
            <a:t>SPOUser</a:t>
          </a:r>
          <a:endParaRPr lang="nb-NO" sz="2100" kern="1200" dirty="0"/>
        </a:p>
      </dsp:txBody>
      <dsp:txXfrm>
        <a:off x="26387" y="1185321"/>
        <a:ext cx="10827951" cy="487766"/>
      </dsp:txXfrm>
    </dsp:sp>
    <dsp:sp modelId="{194E361B-D9C6-47BD-81D8-4D9E1E610039}">
      <dsp:nvSpPr>
        <dsp:cNvPr id="0" name=""/>
        <dsp:cNvSpPr/>
      </dsp:nvSpPr>
      <dsp:spPr>
        <a:xfrm>
          <a:off x="0" y="1699474"/>
          <a:ext cx="10880725"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Get-</a:t>
          </a:r>
          <a:r>
            <a:rPr lang="en-US" sz="1600" kern="1200" dirty="0" err="1"/>
            <a:t>SPOUser</a:t>
          </a:r>
          <a:r>
            <a:rPr lang="en-US" sz="1600" kern="1200" dirty="0"/>
            <a:t> -Site https://contoso.sharepoint.com/sites/marketing -Group "Team Site Members“</a:t>
          </a:r>
          <a:endParaRPr lang="nb-NO" sz="1600" kern="1200" dirty="0"/>
        </a:p>
      </dsp:txBody>
      <dsp:txXfrm>
        <a:off x="0" y="1699474"/>
        <a:ext cx="10880725" cy="347760"/>
      </dsp:txXfrm>
    </dsp:sp>
    <dsp:sp modelId="{955E4765-7A0A-4D69-BC15-341BA4E1677E}">
      <dsp:nvSpPr>
        <dsp:cNvPr id="0" name=""/>
        <dsp:cNvSpPr/>
      </dsp:nvSpPr>
      <dsp:spPr>
        <a:xfrm>
          <a:off x="0" y="204723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et-</a:t>
          </a:r>
          <a:r>
            <a:rPr lang="en-US" sz="2100" kern="1200" dirty="0" err="1"/>
            <a:t>SPOUser</a:t>
          </a:r>
          <a:endParaRPr lang="nb-NO" sz="2100" kern="1200" dirty="0"/>
        </a:p>
      </dsp:txBody>
      <dsp:txXfrm>
        <a:off x="26387" y="2073621"/>
        <a:ext cx="10827951" cy="487766"/>
      </dsp:txXfrm>
    </dsp:sp>
    <dsp:sp modelId="{417239AC-CA82-4757-92F4-240B446EE8E7}">
      <dsp:nvSpPr>
        <dsp:cNvPr id="0" name=""/>
        <dsp:cNvSpPr/>
      </dsp:nvSpPr>
      <dsp:spPr>
        <a:xfrm>
          <a:off x="0" y="2587774"/>
          <a:ext cx="10880725" cy="543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Set-</a:t>
          </a:r>
          <a:r>
            <a:rPr lang="en-US" sz="1600" kern="1200" dirty="0" err="1"/>
            <a:t>SPOUser</a:t>
          </a:r>
          <a:r>
            <a:rPr lang="en-US" sz="1600" kern="1200" dirty="0"/>
            <a:t> -Site https://contoso.sharepoint.com/sites/marketing -</a:t>
          </a:r>
          <a:r>
            <a:rPr lang="en-US" sz="1600" kern="1200" dirty="0" err="1"/>
            <a:t>LoginName</a:t>
          </a:r>
          <a:r>
            <a:rPr lang="en-US" sz="1600" kern="1200" dirty="0"/>
            <a:t> melissa.kerr@contoso.com -</a:t>
          </a:r>
          <a:r>
            <a:rPr lang="en-US" sz="1600" kern="1200" dirty="0" err="1"/>
            <a:t>IsSiteCollectionAdmin</a:t>
          </a:r>
          <a:r>
            <a:rPr lang="en-US" sz="1600" kern="1200" dirty="0"/>
            <a:t> $true</a:t>
          </a:r>
        </a:p>
      </dsp:txBody>
      <dsp:txXfrm>
        <a:off x="0" y="2587774"/>
        <a:ext cx="10880725" cy="543375"/>
      </dsp:txXfrm>
    </dsp:sp>
    <dsp:sp modelId="{726B4376-B666-45E0-B9DF-AF983DDA1FE0}">
      <dsp:nvSpPr>
        <dsp:cNvPr id="0" name=""/>
        <dsp:cNvSpPr/>
      </dsp:nvSpPr>
      <dsp:spPr>
        <a:xfrm>
          <a:off x="0" y="3131149"/>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Remove-</a:t>
          </a:r>
          <a:r>
            <a:rPr lang="en-US" sz="2100" kern="1200" dirty="0" err="1"/>
            <a:t>SPOUser</a:t>
          </a:r>
          <a:endParaRPr lang="nb-NO" sz="2100" kern="1200" dirty="0"/>
        </a:p>
      </dsp:txBody>
      <dsp:txXfrm>
        <a:off x="26387" y="3157536"/>
        <a:ext cx="10827951" cy="487766"/>
      </dsp:txXfrm>
    </dsp:sp>
    <dsp:sp modelId="{86DB398D-C7DB-432A-98B9-9977903F9683}">
      <dsp:nvSpPr>
        <dsp:cNvPr id="0" name=""/>
        <dsp:cNvSpPr/>
      </dsp:nvSpPr>
      <dsp:spPr>
        <a:xfrm>
          <a:off x="0" y="3671689"/>
          <a:ext cx="10880725" cy="543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Remove-</a:t>
          </a:r>
          <a:r>
            <a:rPr lang="en-US" sz="1600" kern="1200" dirty="0" err="1"/>
            <a:t>SPOUser</a:t>
          </a:r>
          <a:r>
            <a:rPr lang="en-US" sz="1600" kern="1200" dirty="0"/>
            <a:t> -Site https://contoso.sharepoint.com/sites/marketing -</a:t>
          </a:r>
          <a:r>
            <a:rPr lang="en-US" sz="1600" kern="1200" dirty="0" err="1"/>
            <a:t>LoginName</a:t>
          </a:r>
          <a:r>
            <a:rPr lang="en-US" sz="1600" kern="1200" dirty="0"/>
            <a:t> joe.healy@contoso.com -Group "SC1 Owners”</a:t>
          </a:r>
          <a:endParaRPr lang="nb-NO" sz="1600" kern="1200" dirty="0"/>
        </a:p>
      </dsp:txBody>
      <dsp:txXfrm>
        <a:off x="0" y="3671689"/>
        <a:ext cx="10880725" cy="543375"/>
      </dsp:txXfrm>
    </dsp:sp>
    <dsp:sp modelId="{C737AAFF-6AD3-4EED-BB0D-54595A00E340}">
      <dsp:nvSpPr>
        <dsp:cNvPr id="0" name=""/>
        <dsp:cNvSpPr/>
      </dsp:nvSpPr>
      <dsp:spPr>
        <a:xfrm>
          <a:off x="0" y="421506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You must be a SharePoint Online admin.</a:t>
          </a:r>
          <a:endParaRPr lang="nb-NO" sz="2100" kern="1200" dirty="0"/>
        </a:p>
      </dsp:txBody>
      <dsp:txXfrm>
        <a:off x="26387" y="4241451"/>
        <a:ext cx="10827951" cy="4877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D5595-D75C-4E29-8D5E-095E65824C9B}">
      <dsp:nvSpPr>
        <dsp:cNvPr id="0" name=""/>
        <dsp:cNvSpPr/>
      </dsp:nvSpPr>
      <dsp:spPr>
        <a:xfrm>
          <a:off x="0" y="34419"/>
          <a:ext cx="10880725"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Get-</a:t>
          </a:r>
          <a:r>
            <a:rPr lang="en-US" sz="3000" kern="1200" dirty="0" err="1"/>
            <a:t>SPOExternalUser</a:t>
          </a:r>
          <a:endParaRPr lang="nb-NO" sz="3000" kern="1200" dirty="0"/>
        </a:p>
      </dsp:txBody>
      <dsp:txXfrm>
        <a:off x="37696" y="72115"/>
        <a:ext cx="10805333" cy="696808"/>
      </dsp:txXfrm>
    </dsp:sp>
    <dsp:sp modelId="{D9C14CAA-3631-43D5-89FA-0358F090EF0A}">
      <dsp:nvSpPr>
        <dsp:cNvPr id="0" name=""/>
        <dsp:cNvSpPr/>
      </dsp:nvSpPr>
      <dsp:spPr>
        <a:xfrm>
          <a:off x="0" y="806619"/>
          <a:ext cx="10880725"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Get-</a:t>
          </a:r>
          <a:r>
            <a:rPr lang="en-US" sz="2300" kern="1200" dirty="0" err="1"/>
            <a:t>SPOExternalUser</a:t>
          </a:r>
          <a:r>
            <a:rPr lang="en-US" sz="2300" kern="1200" dirty="0"/>
            <a:t> -Position 0 -</a:t>
          </a:r>
          <a:r>
            <a:rPr lang="en-US" sz="2300" kern="1200" dirty="0" err="1"/>
            <a:t>PageSize</a:t>
          </a:r>
          <a:r>
            <a:rPr lang="en-US" sz="2300" kern="1200" dirty="0"/>
            <a:t> 30 -Filter @testsite.com</a:t>
          </a:r>
          <a:endParaRPr lang="nb-NO" sz="2300" kern="1200" dirty="0"/>
        </a:p>
      </dsp:txBody>
      <dsp:txXfrm>
        <a:off x="0" y="806619"/>
        <a:ext cx="10880725" cy="496800"/>
      </dsp:txXfrm>
    </dsp:sp>
    <dsp:sp modelId="{AC9C0D66-4476-453B-B138-23DEF2BEDF8E}">
      <dsp:nvSpPr>
        <dsp:cNvPr id="0" name=""/>
        <dsp:cNvSpPr/>
      </dsp:nvSpPr>
      <dsp:spPr>
        <a:xfrm>
          <a:off x="0" y="1303419"/>
          <a:ext cx="10880725"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Remove-</a:t>
          </a:r>
          <a:r>
            <a:rPr lang="en-US" sz="3000" kern="1200" dirty="0" err="1"/>
            <a:t>SPOExternalUser</a:t>
          </a:r>
          <a:endParaRPr lang="nb-NO" sz="3000" kern="1200" dirty="0"/>
        </a:p>
      </dsp:txBody>
      <dsp:txXfrm>
        <a:off x="37696" y="1341115"/>
        <a:ext cx="10805333" cy="696808"/>
      </dsp:txXfrm>
    </dsp:sp>
    <dsp:sp modelId="{DCB8A046-6EDB-4C39-A9DA-6AA42A0A50B0}">
      <dsp:nvSpPr>
        <dsp:cNvPr id="0" name=""/>
        <dsp:cNvSpPr/>
      </dsp:nvSpPr>
      <dsp:spPr>
        <a:xfrm>
          <a:off x="0" y="2075619"/>
          <a:ext cx="10880725" cy="853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user = Get-</a:t>
          </a:r>
          <a:r>
            <a:rPr lang="en-US" sz="2300" kern="1200" dirty="0" err="1"/>
            <a:t>SPOExternalUser</a:t>
          </a:r>
          <a:r>
            <a:rPr lang="en-US" sz="2300" kern="1200" dirty="0"/>
            <a:t> -Filter someone@example</a:t>
          </a:r>
          <a:r>
            <a:rPr lang="en-US" sz="2300" kern="1200"/>
            <a:t>.com</a:t>
          </a:r>
          <a:endParaRPr lang="nb-NO" sz="2300" kern="1200" dirty="0"/>
        </a:p>
        <a:p>
          <a:pPr marL="228600" lvl="1" indent="-228600" algn="l" defTabSz="1022350">
            <a:lnSpc>
              <a:spcPct val="90000"/>
            </a:lnSpc>
            <a:spcBef>
              <a:spcPct val="0"/>
            </a:spcBef>
            <a:spcAft>
              <a:spcPct val="20000"/>
            </a:spcAft>
            <a:buChar char="•"/>
          </a:pPr>
          <a:r>
            <a:rPr lang="en-US" sz="2300" kern="1200" dirty="0"/>
            <a:t>Remove-</a:t>
          </a:r>
          <a:r>
            <a:rPr lang="en-US" sz="2300" kern="1200" dirty="0" err="1"/>
            <a:t>SPOExternalUser</a:t>
          </a:r>
          <a:r>
            <a:rPr lang="en-US" sz="2300" kern="1200" dirty="0"/>
            <a:t> -</a:t>
          </a:r>
          <a:r>
            <a:rPr lang="en-US" sz="2300" kern="1200" dirty="0" err="1"/>
            <a:t>UniqueIDs</a:t>
          </a:r>
          <a:r>
            <a:rPr lang="en-US" sz="2300" kern="1200" dirty="0"/>
            <a:t> @($</a:t>
          </a:r>
          <a:r>
            <a:rPr lang="en-US" sz="2300" kern="1200" dirty="0" err="1"/>
            <a:t>user.UniqueId</a:t>
          </a:r>
          <a:r>
            <a:rPr lang="en-US" sz="2300" kern="1200" dirty="0"/>
            <a:t>)</a:t>
          </a:r>
          <a:endParaRPr lang="nb-NO" sz="2300" kern="1200" dirty="0"/>
        </a:p>
      </dsp:txBody>
      <dsp:txXfrm>
        <a:off x="0" y="2075619"/>
        <a:ext cx="10880725" cy="853875"/>
      </dsp:txXfrm>
    </dsp:sp>
    <dsp:sp modelId="{AD186EE7-BBE3-4372-8419-5F7BE05DE232}">
      <dsp:nvSpPr>
        <dsp:cNvPr id="0" name=""/>
        <dsp:cNvSpPr/>
      </dsp:nvSpPr>
      <dsp:spPr>
        <a:xfrm>
          <a:off x="0" y="2929494"/>
          <a:ext cx="10880725"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You must be a SharePoint Online admin.</a:t>
          </a:r>
          <a:endParaRPr lang="nb-NO" sz="3000" kern="1200" dirty="0"/>
        </a:p>
      </dsp:txBody>
      <dsp:txXfrm>
        <a:off x="37696" y="2967190"/>
        <a:ext cx="10805333" cy="6968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94743-7069-4636-88CE-E0889E9C4D4D}">
      <dsp:nvSpPr>
        <dsp:cNvPr id="0" name=""/>
        <dsp:cNvSpPr/>
      </dsp:nvSpPr>
      <dsp:spPr>
        <a:xfrm>
          <a:off x="0" y="103202"/>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Get-SPOSiteGroup </a:t>
          </a:r>
          <a:endParaRPr lang="nb-NO" sz="2300" kern="1200"/>
        </a:p>
      </dsp:txBody>
      <dsp:txXfrm>
        <a:off x="28900" y="132102"/>
        <a:ext cx="10822925" cy="534220"/>
      </dsp:txXfrm>
    </dsp:sp>
    <dsp:sp modelId="{3C9AF206-4D14-479D-94B8-56EE8D53E2AE}">
      <dsp:nvSpPr>
        <dsp:cNvPr id="0" name=""/>
        <dsp:cNvSpPr/>
      </dsp:nvSpPr>
      <dsp:spPr>
        <a:xfrm>
          <a:off x="0" y="695222"/>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Get-</a:t>
          </a:r>
          <a:r>
            <a:rPr lang="en-US" sz="1800" kern="1200" dirty="0" err="1"/>
            <a:t>SPOSiteGroup</a:t>
          </a:r>
          <a:r>
            <a:rPr lang="en-US" sz="1800" kern="1200" dirty="0"/>
            <a:t> -Site http://contoso.sharepoint.com/sites/marketing</a:t>
          </a:r>
          <a:endParaRPr lang="nb-NO" sz="1800" kern="1200" dirty="0"/>
        </a:p>
      </dsp:txBody>
      <dsp:txXfrm>
        <a:off x="0" y="695222"/>
        <a:ext cx="10880725" cy="380880"/>
      </dsp:txXfrm>
    </dsp:sp>
    <dsp:sp modelId="{8E0E21CB-CD63-4AD1-A980-762B41645792}">
      <dsp:nvSpPr>
        <dsp:cNvPr id="0" name=""/>
        <dsp:cNvSpPr/>
      </dsp:nvSpPr>
      <dsp:spPr>
        <a:xfrm>
          <a:off x="0" y="1076102"/>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New-</a:t>
          </a:r>
          <a:r>
            <a:rPr lang="en-US" sz="2300" kern="1200" dirty="0" err="1"/>
            <a:t>SPOSiteGroup</a:t>
          </a:r>
          <a:endParaRPr lang="nb-NO" sz="2300" kern="1200" dirty="0"/>
        </a:p>
      </dsp:txBody>
      <dsp:txXfrm>
        <a:off x="28900" y="1105002"/>
        <a:ext cx="10822925" cy="534220"/>
      </dsp:txXfrm>
    </dsp:sp>
    <dsp:sp modelId="{93ADED32-AD1F-4680-964F-313761D1C96B}">
      <dsp:nvSpPr>
        <dsp:cNvPr id="0" name=""/>
        <dsp:cNvSpPr/>
      </dsp:nvSpPr>
      <dsp:spPr>
        <a:xfrm>
          <a:off x="0" y="1668122"/>
          <a:ext cx="10880725" cy="607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New-</a:t>
          </a:r>
          <a:r>
            <a:rPr lang="en-US" sz="1800" kern="1200" dirty="0" err="1"/>
            <a:t>SPOSiteGroup</a:t>
          </a:r>
          <a:r>
            <a:rPr lang="en-US" sz="1800" kern="1200" dirty="0"/>
            <a:t> -Site https://contoso.sharepoint.com/sites/marketing -Group "Project Leads" -</a:t>
          </a:r>
          <a:r>
            <a:rPr lang="en-US" sz="1800" kern="1200" dirty="0" err="1"/>
            <a:t>PermissionLevels</a:t>
          </a:r>
          <a:r>
            <a:rPr lang="en-US" sz="1800" kern="1200" dirty="0"/>
            <a:t> "Full Control" </a:t>
          </a:r>
          <a:endParaRPr lang="nb-NO" sz="1800" kern="1200" dirty="0"/>
        </a:p>
      </dsp:txBody>
      <dsp:txXfrm>
        <a:off x="0" y="1668122"/>
        <a:ext cx="10880725" cy="607027"/>
      </dsp:txXfrm>
    </dsp:sp>
    <dsp:sp modelId="{FF6D8443-B27E-4C43-8215-7BA379D133F9}">
      <dsp:nvSpPr>
        <dsp:cNvPr id="0" name=""/>
        <dsp:cNvSpPr/>
      </dsp:nvSpPr>
      <dsp:spPr>
        <a:xfrm>
          <a:off x="0" y="227515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Remove-</a:t>
          </a:r>
          <a:r>
            <a:rPr lang="en-US" sz="2300" kern="1200" dirty="0" err="1"/>
            <a:t>SPOSiteGroup</a:t>
          </a:r>
          <a:endParaRPr lang="nb-NO" sz="2300" kern="1200" dirty="0"/>
        </a:p>
      </dsp:txBody>
      <dsp:txXfrm>
        <a:off x="28900" y="2304050"/>
        <a:ext cx="10822925" cy="534220"/>
      </dsp:txXfrm>
    </dsp:sp>
    <dsp:sp modelId="{8E8248C2-EACF-45CA-9543-1C1C2592F8F4}">
      <dsp:nvSpPr>
        <dsp:cNvPr id="0" name=""/>
        <dsp:cNvSpPr/>
      </dsp:nvSpPr>
      <dsp:spPr>
        <a:xfrm>
          <a:off x="0" y="2867170"/>
          <a:ext cx="10880725" cy="607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move-</a:t>
          </a:r>
          <a:r>
            <a:rPr lang="en-US" sz="1800" kern="1200" dirty="0" err="1"/>
            <a:t>SPOSiteGroup</a:t>
          </a:r>
          <a:r>
            <a:rPr lang="en-US" sz="1800" kern="1200" dirty="0"/>
            <a:t> –Site https://contoso.sharepoint.com/sites/marketing -Identity </a:t>
          </a:r>
          <a:r>
            <a:rPr lang="en-US" sz="1800" kern="1200" dirty="0" err="1"/>
            <a:t>GroupToRemove</a:t>
          </a:r>
          <a:r>
            <a:rPr lang="en-US" sz="1800" kern="1200" dirty="0"/>
            <a:t> </a:t>
          </a:r>
          <a:endParaRPr lang="nb-NO" sz="1800" kern="1200" dirty="0"/>
        </a:p>
      </dsp:txBody>
      <dsp:txXfrm>
        <a:off x="0" y="2867170"/>
        <a:ext cx="10880725" cy="607027"/>
      </dsp:txXfrm>
    </dsp:sp>
    <dsp:sp modelId="{01C66945-7F78-49A4-8511-CB81A4B110FA}">
      <dsp:nvSpPr>
        <dsp:cNvPr id="0" name=""/>
        <dsp:cNvSpPr/>
      </dsp:nvSpPr>
      <dsp:spPr>
        <a:xfrm>
          <a:off x="0" y="3474197"/>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Set-</a:t>
          </a:r>
          <a:r>
            <a:rPr lang="en-US" sz="2300" kern="1200" dirty="0" err="1"/>
            <a:t>SPOSiteGroup</a:t>
          </a:r>
          <a:r>
            <a:rPr lang="en-US" sz="2300" kern="1200" dirty="0"/>
            <a:t> </a:t>
          </a:r>
          <a:endParaRPr lang="nb-NO" sz="2300" kern="1200" dirty="0"/>
        </a:p>
      </dsp:txBody>
      <dsp:txXfrm>
        <a:off x="28900" y="3503097"/>
        <a:ext cx="10822925" cy="534220"/>
      </dsp:txXfrm>
    </dsp:sp>
    <dsp:sp modelId="{5BC0C380-D9EB-44C5-BF0B-852A3B13EE51}">
      <dsp:nvSpPr>
        <dsp:cNvPr id="0" name=""/>
        <dsp:cNvSpPr/>
      </dsp:nvSpPr>
      <dsp:spPr>
        <a:xfrm>
          <a:off x="0" y="4066217"/>
          <a:ext cx="10880725" cy="607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Set-</a:t>
          </a:r>
          <a:r>
            <a:rPr lang="en-US" sz="1800" kern="1200" dirty="0" err="1"/>
            <a:t>SPOSiteGroup</a:t>
          </a:r>
          <a:r>
            <a:rPr lang="en-US" sz="1800" kern="1200" dirty="0"/>
            <a:t> -Site http://contoso.sharepoint.com/sites/marketing -Identity "Project Leads" -</a:t>
          </a:r>
          <a:r>
            <a:rPr lang="en-US" sz="1800" kern="1200" dirty="0" err="1"/>
            <a:t>PermissionLevelsToRemove</a:t>
          </a:r>
          <a:r>
            <a:rPr lang="en-US" sz="1800" kern="1200" dirty="0"/>
            <a:t> "Full Control" -</a:t>
          </a:r>
          <a:r>
            <a:rPr lang="en-US" sz="1800" kern="1200" dirty="0" err="1"/>
            <a:t>PermissionLevelsToAdd</a:t>
          </a:r>
          <a:r>
            <a:rPr lang="en-US" sz="1800" kern="1200" dirty="0"/>
            <a:t> "View Only“</a:t>
          </a:r>
          <a:endParaRPr lang="nb-NO" sz="1800" kern="1200" dirty="0"/>
        </a:p>
      </dsp:txBody>
      <dsp:txXfrm>
        <a:off x="0" y="4066217"/>
        <a:ext cx="10880725" cy="607027"/>
      </dsp:txXfrm>
    </dsp:sp>
    <dsp:sp modelId="{BD36CCA7-EEC6-4E2B-BFCC-CAB7FF8F9EBA}">
      <dsp:nvSpPr>
        <dsp:cNvPr id="0" name=""/>
        <dsp:cNvSpPr/>
      </dsp:nvSpPr>
      <dsp:spPr>
        <a:xfrm>
          <a:off x="0" y="4673245"/>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You must be a SharePoint Online admin.</a:t>
          </a:r>
          <a:endParaRPr lang="nb-NO" sz="2300" kern="1200" dirty="0"/>
        </a:p>
      </dsp:txBody>
      <dsp:txXfrm>
        <a:off x="28900" y="4702145"/>
        <a:ext cx="10822925" cy="5342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BBB157-B367-41F6-A670-104C01C38D14}">
      <dsp:nvSpPr>
        <dsp:cNvPr id="0" name=""/>
        <dsp:cNvSpPr/>
      </dsp:nvSpPr>
      <dsp:spPr>
        <a:xfrm>
          <a:off x="0" y="10092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Get-</a:t>
          </a:r>
          <a:r>
            <a:rPr lang="en-US" sz="2300" kern="1200" dirty="0" err="1"/>
            <a:t>SPODeletedSite</a:t>
          </a:r>
          <a:endParaRPr lang="nb-NO" sz="2300" kern="1200" dirty="0"/>
        </a:p>
      </dsp:txBody>
      <dsp:txXfrm>
        <a:off x="28900" y="129820"/>
        <a:ext cx="10822925" cy="534220"/>
      </dsp:txXfrm>
    </dsp:sp>
    <dsp:sp modelId="{0136E2E0-E10D-4BFE-AD4C-5EB782733B36}">
      <dsp:nvSpPr>
        <dsp:cNvPr id="0" name=""/>
        <dsp:cNvSpPr/>
      </dsp:nvSpPr>
      <dsp:spPr>
        <a:xfrm>
          <a:off x="0" y="69294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Get-</a:t>
          </a:r>
          <a:r>
            <a:rPr lang="en-US" sz="1800" kern="1200" dirty="0" err="1"/>
            <a:t>SPODeletedSite</a:t>
          </a:r>
          <a:r>
            <a:rPr lang="en-US" sz="1800" kern="1200" dirty="0"/>
            <a:t> -Identity </a:t>
          </a:r>
          <a:r>
            <a:rPr lang="en-US" sz="1800" kern="1200" dirty="0">
              <a:hlinkClick xmlns:r="http://schemas.openxmlformats.org/officeDocument/2006/relationships" r:id="rId1"/>
            </a:rPr>
            <a:t>http://contoso.sharepoint.com/sites/marketing</a:t>
          </a:r>
          <a:r>
            <a:rPr lang="en-US" sz="1800" kern="1200" dirty="0"/>
            <a:t>  </a:t>
          </a:r>
          <a:endParaRPr lang="nb-NO" sz="1800" kern="1200" dirty="0"/>
        </a:p>
      </dsp:txBody>
      <dsp:txXfrm>
        <a:off x="0" y="692940"/>
        <a:ext cx="10880725" cy="380880"/>
      </dsp:txXfrm>
    </dsp:sp>
    <dsp:sp modelId="{465F25E3-738A-4A41-BC13-6D86D67902D1}">
      <dsp:nvSpPr>
        <dsp:cNvPr id="0" name=""/>
        <dsp:cNvSpPr/>
      </dsp:nvSpPr>
      <dsp:spPr>
        <a:xfrm>
          <a:off x="0" y="107382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Restore-</a:t>
          </a:r>
          <a:r>
            <a:rPr lang="en-US" sz="2300" kern="1200" dirty="0" err="1"/>
            <a:t>SPODeletedSite</a:t>
          </a:r>
          <a:endParaRPr lang="nb-NO" sz="2300" kern="1200" dirty="0"/>
        </a:p>
      </dsp:txBody>
      <dsp:txXfrm>
        <a:off x="28900" y="1102720"/>
        <a:ext cx="10822925" cy="534220"/>
      </dsp:txXfrm>
    </dsp:sp>
    <dsp:sp modelId="{9A5593A6-D2F6-411F-B4D5-3E440E9C527E}">
      <dsp:nvSpPr>
        <dsp:cNvPr id="0" name=""/>
        <dsp:cNvSpPr/>
      </dsp:nvSpPr>
      <dsp:spPr>
        <a:xfrm>
          <a:off x="0" y="166584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store-</a:t>
          </a:r>
          <a:r>
            <a:rPr lang="en-US" sz="1800" kern="1200" dirty="0" err="1"/>
            <a:t>SPODeletedSite</a:t>
          </a:r>
          <a:r>
            <a:rPr lang="en-US" sz="1800" kern="1200" dirty="0"/>
            <a:t> -Identity </a:t>
          </a:r>
          <a:r>
            <a:rPr lang="en-US" sz="1800" kern="1200" dirty="0">
              <a:hlinkClick xmlns:r="http://schemas.openxmlformats.org/officeDocument/2006/relationships" r:id="rId2"/>
            </a:rPr>
            <a:t>https://contoso.sharepoint.com/sites/marketing</a:t>
          </a:r>
          <a:endParaRPr lang="nb-NO" sz="1800" kern="1200" dirty="0"/>
        </a:p>
      </dsp:txBody>
      <dsp:txXfrm>
        <a:off x="0" y="1665840"/>
        <a:ext cx="10880725" cy="380880"/>
      </dsp:txXfrm>
    </dsp:sp>
    <dsp:sp modelId="{2B74C28D-C207-4FDA-9ADA-E640CDB98A0A}">
      <dsp:nvSpPr>
        <dsp:cNvPr id="0" name=""/>
        <dsp:cNvSpPr/>
      </dsp:nvSpPr>
      <dsp:spPr>
        <a:xfrm>
          <a:off x="0" y="204672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Remove-</a:t>
          </a:r>
          <a:r>
            <a:rPr lang="en-US" sz="2300" kern="1200" dirty="0" err="1"/>
            <a:t>SPODeletedSite</a:t>
          </a:r>
          <a:endParaRPr lang="nb-NO" sz="2300" kern="1200" dirty="0"/>
        </a:p>
      </dsp:txBody>
      <dsp:txXfrm>
        <a:off x="28900" y="2075620"/>
        <a:ext cx="10822925" cy="534220"/>
      </dsp:txXfrm>
    </dsp:sp>
    <dsp:sp modelId="{6103D95B-B6B7-4876-B92A-8044F5DBE45B}">
      <dsp:nvSpPr>
        <dsp:cNvPr id="0" name=""/>
        <dsp:cNvSpPr/>
      </dsp:nvSpPr>
      <dsp:spPr>
        <a:xfrm>
          <a:off x="0" y="263874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move-</a:t>
          </a:r>
          <a:r>
            <a:rPr lang="en-US" sz="1800" kern="1200" dirty="0" err="1"/>
            <a:t>SPODeletedSite</a:t>
          </a:r>
          <a:r>
            <a:rPr lang="en-US" sz="1800" kern="1200" dirty="0"/>
            <a:t> -Identity </a:t>
          </a:r>
          <a:r>
            <a:rPr lang="en-US" sz="1800" kern="1200" dirty="0">
              <a:hlinkClick xmlns:r="http://schemas.openxmlformats.org/officeDocument/2006/relationships" r:id="rId3"/>
            </a:rPr>
            <a:t>https://contoso.sharepoint.com/sites/marketing</a:t>
          </a:r>
          <a:endParaRPr lang="nb-NO" sz="1800" kern="1200" dirty="0"/>
        </a:p>
      </dsp:txBody>
      <dsp:txXfrm>
        <a:off x="0" y="2638740"/>
        <a:ext cx="10880725" cy="380880"/>
      </dsp:txXfrm>
    </dsp:sp>
    <dsp:sp modelId="{5D4AEC91-4304-49DB-8ED2-EB89EBA97B33}">
      <dsp:nvSpPr>
        <dsp:cNvPr id="0" name=""/>
        <dsp:cNvSpPr/>
      </dsp:nvSpPr>
      <dsp:spPr>
        <a:xfrm>
          <a:off x="0" y="3019620"/>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Get-</a:t>
          </a:r>
          <a:r>
            <a:rPr lang="en-US" sz="2300" kern="1200" dirty="0" err="1"/>
            <a:t>SPOSite</a:t>
          </a:r>
          <a:endParaRPr lang="nb-NO" sz="2300" kern="1200" dirty="0"/>
        </a:p>
      </dsp:txBody>
      <dsp:txXfrm>
        <a:off x="28900" y="3048520"/>
        <a:ext cx="10822925" cy="534220"/>
      </dsp:txXfrm>
    </dsp:sp>
    <dsp:sp modelId="{34C19BE3-8139-4707-BA11-18703F2F6C9F}">
      <dsp:nvSpPr>
        <dsp:cNvPr id="0" name=""/>
        <dsp:cNvSpPr/>
      </dsp:nvSpPr>
      <dsp:spPr>
        <a:xfrm>
          <a:off x="0" y="3611640"/>
          <a:ext cx="10880725"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Get-</a:t>
          </a:r>
          <a:r>
            <a:rPr lang="en-US" sz="1800" kern="1200" dirty="0" err="1"/>
            <a:t>SPOSite</a:t>
          </a:r>
          <a:r>
            <a:rPr lang="en-US" sz="1800" kern="1200" dirty="0"/>
            <a:t> –Filter {</a:t>
          </a:r>
          <a:r>
            <a:rPr lang="en-US" sz="1800" kern="1200" dirty="0" err="1"/>
            <a:t>Url</a:t>
          </a:r>
          <a:r>
            <a:rPr lang="en-US" sz="1800" kern="1200" dirty="0"/>
            <a:t> -like “*term*”} | Ft </a:t>
          </a:r>
          <a:r>
            <a:rPr lang="en-US" sz="1800" kern="1200" dirty="0" err="1"/>
            <a:t>Url</a:t>
          </a:r>
          <a:endParaRPr lang="nb-NO" sz="1800" kern="1200" dirty="0"/>
        </a:p>
        <a:p>
          <a:pPr marL="171450" lvl="1" indent="-171450" algn="l" defTabSz="800100">
            <a:lnSpc>
              <a:spcPct val="90000"/>
            </a:lnSpc>
            <a:spcBef>
              <a:spcPct val="0"/>
            </a:spcBef>
            <a:spcAft>
              <a:spcPct val="20000"/>
            </a:spcAft>
            <a:buChar char="•"/>
          </a:pPr>
          <a:r>
            <a:rPr lang="en-US" sz="1800" kern="1200" dirty="0"/>
            <a:t>Get-</a:t>
          </a:r>
          <a:r>
            <a:rPr lang="en-US" sz="1800" kern="1200" dirty="0" err="1"/>
            <a:t>SPOSite</a:t>
          </a:r>
          <a:r>
            <a:rPr lang="en-US" sz="1800" kern="1200" dirty="0"/>
            <a:t> | ft </a:t>
          </a:r>
          <a:r>
            <a:rPr lang="en-US" sz="1800" kern="1200" dirty="0" err="1"/>
            <a:t>Url</a:t>
          </a:r>
          <a:r>
            <a:rPr lang="en-US" sz="1800" kern="1200" dirty="0"/>
            <a:t>, </a:t>
          </a:r>
          <a:r>
            <a:rPr lang="en-US" sz="1800" kern="1200" dirty="0" err="1"/>
            <a:t>CompatibilityLevel</a:t>
          </a:r>
          <a:endParaRPr lang="nb-NO" sz="1800" kern="1200" dirty="0"/>
        </a:p>
      </dsp:txBody>
      <dsp:txXfrm>
        <a:off x="0" y="3611640"/>
        <a:ext cx="10880725" cy="678442"/>
      </dsp:txXfrm>
    </dsp:sp>
    <dsp:sp modelId="{AF642AD7-B011-44D7-AAA9-F71858B9DF01}">
      <dsp:nvSpPr>
        <dsp:cNvPr id="0" name=""/>
        <dsp:cNvSpPr/>
      </dsp:nvSpPr>
      <dsp:spPr>
        <a:xfrm>
          <a:off x="0" y="4290082"/>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Valid operators are as follows: EQ, NE, LIKE, NOTLIKE </a:t>
          </a:r>
          <a:endParaRPr lang="nb-NO" sz="2300" kern="1200" dirty="0"/>
        </a:p>
      </dsp:txBody>
      <dsp:txXfrm>
        <a:off x="28900" y="4318982"/>
        <a:ext cx="10822925" cy="5342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807EC5-067B-4581-AA96-45E2FF1D86FC}">
      <dsp:nvSpPr>
        <dsp:cNvPr id="0" name=""/>
        <dsp:cNvSpPr/>
      </dsp:nvSpPr>
      <dsp:spPr>
        <a:xfrm>
          <a:off x="0" y="47878"/>
          <a:ext cx="10880725" cy="82222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kern="1200" baseline="0"/>
            <a:t>New-SPOSite </a:t>
          </a:r>
          <a:endParaRPr lang="en-US" sz="2100" kern="1200"/>
        </a:p>
      </dsp:txBody>
      <dsp:txXfrm>
        <a:off x="40138" y="88016"/>
        <a:ext cx="10800449" cy="741948"/>
      </dsp:txXfrm>
    </dsp:sp>
    <dsp:sp modelId="{720D949F-431F-43DD-A9AB-4EE27451EB17}">
      <dsp:nvSpPr>
        <dsp:cNvPr id="0" name=""/>
        <dsp:cNvSpPr/>
      </dsp:nvSpPr>
      <dsp:spPr>
        <a:xfrm>
          <a:off x="0" y="870102"/>
          <a:ext cx="10880725" cy="26516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IN" sz="1600" kern="1200" baseline="0" dirty="0"/>
            <a:t>Must use the pre-set managed paths (/sites or /teams) available in SharePoint Online :</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a:t>Url</a:t>
          </a:r>
          <a:r>
            <a:rPr lang="en-IN" sz="1600" kern="1200" baseline="0" dirty="0"/>
            <a:t>: Full URL of the site collection (remember to use https)</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a:t>Owner</a:t>
          </a:r>
          <a:r>
            <a:rPr lang="en-IN" sz="1600" kern="1200" baseline="0" dirty="0"/>
            <a:t>: Full user name of site owner (that is admin@mytenant.onmicrosoft.com)</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err="1"/>
            <a:t>StorageQuota</a:t>
          </a:r>
          <a:r>
            <a:rPr lang="en-IN" sz="1600" kern="1200" baseline="0" dirty="0"/>
            <a:t>: In MB</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a:t>Template</a:t>
          </a:r>
          <a:r>
            <a:rPr lang="en-IN" sz="1600" kern="1200" baseline="0" dirty="0"/>
            <a:t>: (Optional) for example STS#3</a:t>
          </a:r>
          <a:br>
            <a:rPr lang="en-IN" sz="1600" kern="1200" baseline="0" dirty="0"/>
          </a:br>
          <a:r>
            <a:rPr lang="en-IN" sz="1600" kern="1200" baseline="0" dirty="0"/>
            <a:t>  Use Get-</a:t>
          </a:r>
          <a:r>
            <a:rPr lang="en-IN" sz="1600" kern="1200" baseline="0" dirty="0" err="1"/>
            <a:t>SPOWebTemplate</a:t>
          </a:r>
          <a:r>
            <a:rPr lang="en-IN" sz="1600" kern="1200" baseline="0" dirty="0"/>
            <a:t> to view a list of available templates</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a:t>Title</a:t>
          </a:r>
          <a:r>
            <a:rPr lang="en-IN" sz="1600" kern="1200" baseline="0" dirty="0"/>
            <a:t>: (Optional) Name of the site collection</a:t>
          </a:r>
          <a:endParaRPr lang="en-US" sz="1600" kern="1200" dirty="0"/>
        </a:p>
        <a:p>
          <a:pPr marL="342900" lvl="2" indent="-171450" algn="l" defTabSz="711200">
            <a:lnSpc>
              <a:spcPct val="90000"/>
            </a:lnSpc>
            <a:spcBef>
              <a:spcPct val="0"/>
            </a:spcBef>
            <a:spcAft>
              <a:spcPct val="20000"/>
            </a:spcAft>
            <a:buChar char="•"/>
          </a:pPr>
          <a:r>
            <a:rPr lang="en-IN" sz="1600" kern="1200" baseline="0" dirty="0"/>
            <a:t>-</a:t>
          </a:r>
          <a:r>
            <a:rPr lang="en-IN" sz="1600" b="1" kern="1200" baseline="0" dirty="0" err="1"/>
            <a:t>NoWait</a:t>
          </a:r>
          <a:r>
            <a:rPr lang="en-IN" sz="1600" kern="1200" baseline="0" dirty="0"/>
            <a:t>: Instructs Windows PowerShell not to wait until the cmdlet is finished</a:t>
          </a:r>
          <a:endParaRPr lang="en-US" sz="1600" kern="1200" dirty="0"/>
        </a:p>
        <a:p>
          <a:pPr marL="342900" lvl="2" indent="-171450" algn="l" defTabSz="711200">
            <a:lnSpc>
              <a:spcPct val="90000"/>
            </a:lnSpc>
            <a:spcBef>
              <a:spcPct val="0"/>
            </a:spcBef>
            <a:spcAft>
              <a:spcPct val="20000"/>
            </a:spcAft>
            <a:buChar char="•"/>
          </a:pPr>
          <a:endParaRPr lang="en-US" sz="1600" kern="1200" dirty="0"/>
        </a:p>
      </dsp:txBody>
      <dsp:txXfrm>
        <a:off x="0" y="870102"/>
        <a:ext cx="10880725" cy="2651670"/>
      </dsp:txXfrm>
    </dsp:sp>
    <dsp:sp modelId="{C4214724-6C28-42DC-A82F-6C9DF1A00D47}">
      <dsp:nvSpPr>
        <dsp:cNvPr id="0" name=""/>
        <dsp:cNvSpPr/>
      </dsp:nvSpPr>
      <dsp:spPr>
        <a:xfrm>
          <a:off x="0" y="3521772"/>
          <a:ext cx="10880725" cy="124999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IN" sz="2100" b="0" kern="1200" baseline="0" dirty="0"/>
            <a:t>New-</a:t>
          </a:r>
          <a:r>
            <a:rPr lang="en-IN" sz="2100" b="0" kern="1200" baseline="0" dirty="0" err="1"/>
            <a:t>SPOSite</a:t>
          </a:r>
          <a:r>
            <a:rPr lang="en-IN" sz="2100" b="0" kern="1200" baseline="0" dirty="0"/>
            <a:t> -</a:t>
          </a:r>
          <a:r>
            <a:rPr lang="en-IN" sz="2100" b="0" kern="1200" baseline="0" dirty="0" err="1"/>
            <a:t>Url</a:t>
          </a:r>
          <a:r>
            <a:rPr lang="en-IN" sz="2100" b="0" kern="1200" baseline="0" dirty="0"/>
            <a:t> https://mytenant.sharepoint.com/sites/sitename -Owner "admin@mytenant.onmicrosoft.com" -</a:t>
          </a:r>
          <a:r>
            <a:rPr lang="en-IN" sz="2100" b="0" kern="1200" baseline="0" dirty="0" err="1"/>
            <a:t>StorageQuota</a:t>
          </a:r>
          <a:r>
            <a:rPr lang="en-IN" sz="2100" b="0" kern="1200" baseline="0" dirty="0"/>
            <a:t> "500" -</a:t>
          </a:r>
          <a:r>
            <a:rPr lang="en-IN" sz="2100" b="0" kern="1200" baseline="0" dirty="0" err="1"/>
            <a:t>NoWait</a:t>
          </a:r>
          <a:r>
            <a:rPr lang="en-IN" sz="2100" b="0" kern="1200" baseline="0" dirty="0"/>
            <a:t> -Template "STS#3" -Title "Site Title" </a:t>
          </a:r>
          <a:endParaRPr lang="en-US" sz="2100" kern="1200" dirty="0"/>
        </a:p>
      </dsp:txBody>
      <dsp:txXfrm>
        <a:off x="61020" y="3582792"/>
        <a:ext cx="10758685" cy="11279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BD8CE-C27A-4C86-95F1-088ADCACC042}">
      <dsp:nvSpPr>
        <dsp:cNvPr id="0" name=""/>
        <dsp:cNvSpPr/>
      </dsp:nvSpPr>
      <dsp:spPr>
        <a:xfrm>
          <a:off x="96" y="18380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t>SharingAllowedDomainList</a:t>
          </a:r>
          <a:br>
            <a:rPr lang="en-US" sz="2400" kern="1200" dirty="0"/>
          </a:br>
          <a:r>
            <a:rPr lang="en-US" sz="2400" kern="1200" dirty="0" err="1"/>
            <a:t>SharingBlockedDomainList</a:t>
          </a:r>
          <a:endParaRPr lang="nb-NO" sz="2400" kern="1200" dirty="0"/>
        </a:p>
      </dsp:txBody>
      <dsp:txXfrm>
        <a:off x="96" y="183801"/>
        <a:ext cx="5394953" cy="1096208"/>
      </dsp:txXfrm>
    </dsp:sp>
    <dsp:sp modelId="{3BB2126C-DF0D-452C-8E11-3BEFD838B2A4}">
      <dsp:nvSpPr>
        <dsp:cNvPr id="0" name=""/>
        <dsp:cNvSpPr/>
      </dsp:nvSpPr>
      <dsp:spPr>
        <a:xfrm>
          <a:off x="5577750" y="18380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t>DisableCompanyWideSharingLinks</a:t>
          </a:r>
          <a:endParaRPr lang="nb-NO" sz="2400" kern="1200" dirty="0"/>
        </a:p>
      </dsp:txBody>
      <dsp:txXfrm>
        <a:off x="5577750" y="183801"/>
        <a:ext cx="5394953" cy="1096208"/>
      </dsp:txXfrm>
    </dsp:sp>
    <dsp:sp modelId="{B124458C-D662-4EE0-AAA0-20E19BA73D22}">
      <dsp:nvSpPr>
        <dsp:cNvPr id="0" name=""/>
        <dsp:cNvSpPr/>
      </dsp:nvSpPr>
      <dsp:spPr>
        <a:xfrm>
          <a:off x="96" y="146271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t>DisableSharingForNonOwners</a:t>
          </a:r>
          <a:endParaRPr lang="nb-NO" sz="2400" kern="1200" dirty="0"/>
        </a:p>
      </dsp:txBody>
      <dsp:txXfrm>
        <a:off x="96" y="1462711"/>
        <a:ext cx="5394953" cy="1096208"/>
      </dsp:txXfrm>
    </dsp:sp>
    <dsp:sp modelId="{AA311D60-CE69-43C7-A645-6B9AB710AD35}">
      <dsp:nvSpPr>
        <dsp:cNvPr id="0" name=""/>
        <dsp:cNvSpPr/>
      </dsp:nvSpPr>
      <dsp:spPr>
        <a:xfrm>
          <a:off x="5577750" y="146271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Owner</a:t>
          </a:r>
          <a:endParaRPr lang="nb-NO" sz="2400" kern="1200" dirty="0"/>
        </a:p>
      </dsp:txBody>
      <dsp:txXfrm>
        <a:off x="5577750" y="1462711"/>
        <a:ext cx="5394953" cy="1096208"/>
      </dsp:txXfrm>
    </dsp:sp>
    <dsp:sp modelId="{21A06B91-FFE9-4B46-BD98-BE105F57023C}">
      <dsp:nvSpPr>
        <dsp:cNvPr id="0" name=""/>
        <dsp:cNvSpPr/>
      </dsp:nvSpPr>
      <dsp:spPr>
        <a:xfrm>
          <a:off x="96" y="274162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sv-SE" sz="2400" kern="1200" dirty="0"/>
            <a:t>StorageQuota</a:t>
          </a:r>
          <a:endParaRPr lang="nb-NO" sz="2400" kern="1200" dirty="0"/>
        </a:p>
      </dsp:txBody>
      <dsp:txXfrm>
        <a:off x="96" y="2741621"/>
        <a:ext cx="5394953" cy="1096208"/>
      </dsp:txXfrm>
    </dsp:sp>
    <dsp:sp modelId="{AAE9A8FC-5857-4EDD-8AC7-85E4349DBA89}">
      <dsp:nvSpPr>
        <dsp:cNvPr id="0" name=""/>
        <dsp:cNvSpPr/>
      </dsp:nvSpPr>
      <dsp:spPr>
        <a:xfrm>
          <a:off x="5577750" y="274162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sv-SE" sz="2400" kern="1200" dirty="0"/>
            <a:t>StorageQuotaWarningLevel</a:t>
          </a:r>
          <a:endParaRPr lang="nb-NO" sz="2400" kern="1200" dirty="0"/>
        </a:p>
      </dsp:txBody>
      <dsp:txXfrm>
        <a:off x="5577750" y="2741621"/>
        <a:ext cx="5394953" cy="1096208"/>
      </dsp:txXfrm>
    </dsp:sp>
    <dsp:sp modelId="{0122FD0B-B404-4894-98AF-2EFD33168705}">
      <dsp:nvSpPr>
        <dsp:cNvPr id="0" name=""/>
        <dsp:cNvSpPr/>
      </dsp:nvSpPr>
      <dsp:spPr>
        <a:xfrm>
          <a:off x="96" y="402053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itle</a:t>
          </a:r>
          <a:endParaRPr lang="nb-NO" sz="2400" kern="1200" dirty="0"/>
        </a:p>
      </dsp:txBody>
      <dsp:txXfrm>
        <a:off x="96" y="4020531"/>
        <a:ext cx="5394953" cy="1096208"/>
      </dsp:txXfrm>
    </dsp:sp>
    <dsp:sp modelId="{08E60302-A53F-4E42-B770-96B9C631B464}">
      <dsp:nvSpPr>
        <dsp:cNvPr id="0" name=""/>
        <dsp:cNvSpPr/>
      </dsp:nvSpPr>
      <dsp:spPr>
        <a:xfrm>
          <a:off x="5577750" y="4020531"/>
          <a:ext cx="5394953" cy="109620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sv-SE" sz="2400" kern="1200" dirty="0"/>
            <a:t>SharingCapability</a:t>
          </a:r>
          <a:endParaRPr lang="nb-NO" sz="2400" kern="1200" dirty="0"/>
        </a:p>
      </dsp:txBody>
      <dsp:txXfrm>
        <a:off x="5577750" y="4020531"/>
        <a:ext cx="5394953" cy="109620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45228-2E43-44FD-9E41-2DCD5BE90D7D}">
      <dsp:nvSpPr>
        <dsp:cNvPr id="0" name=""/>
        <dsp:cNvSpPr/>
      </dsp:nvSpPr>
      <dsp:spPr>
        <a:xfrm>
          <a:off x="0" y="14435"/>
          <a:ext cx="10880725" cy="7464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nb-NO" sz="2900" kern="1200" dirty="0"/>
            <a:t>Get-SPOTenant</a:t>
          </a:r>
        </a:p>
      </dsp:txBody>
      <dsp:txXfrm>
        <a:off x="36439" y="50874"/>
        <a:ext cx="10807847" cy="673582"/>
      </dsp:txXfrm>
    </dsp:sp>
    <dsp:sp modelId="{AFA0CD2B-55D6-4A4E-A3C9-EF82BB6B40F4}">
      <dsp:nvSpPr>
        <dsp:cNvPr id="0" name=""/>
        <dsp:cNvSpPr/>
      </dsp:nvSpPr>
      <dsp:spPr>
        <a:xfrm>
          <a:off x="0" y="760895"/>
          <a:ext cx="10880725" cy="1500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Returns organization-level site collection properties such as </a:t>
          </a:r>
          <a:r>
            <a:rPr lang="en-US" sz="2300" kern="1200" dirty="0" err="1"/>
            <a:t>StorageQuota</a:t>
          </a:r>
          <a:r>
            <a:rPr lang="en-US" sz="2300" kern="1200" dirty="0"/>
            <a:t>, </a:t>
          </a:r>
          <a:r>
            <a:rPr lang="en-US" sz="2300" kern="1200" dirty="0" err="1"/>
            <a:t>StorageQuotaAllocated</a:t>
          </a:r>
          <a:r>
            <a:rPr lang="en-US" sz="2300" kern="1200" dirty="0"/>
            <a:t>, </a:t>
          </a:r>
          <a:r>
            <a:rPr lang="en-US" sz="2300" kern="1200" dirty="0" err="1"/>
            <a:t>SharingCapability</a:t>
          </a:r>
          <a:r>
            <a:rPr lang="en-US" sz="2300" kern="1200" dirty="0"/>
            <a:t>, </a:t>
          </a:r>
          <a:r>
            <a:rPr lang="en-US" sz="2300" kern="1200" dirty="0" err="1"/>
            <a:t>LegacyAuthProtocolsEnabled</a:t>
          </a:r>
          <a:r>
            <a:rPr lang="en-US" sz="2300" kern="1200" dirty="0"/>
            <a:t>, and </a:t>
          </a:r>
          <a:r>
            <a:rPr lang="en-US" sz="2300" kern="1200" dirty="0" err="1"/>
            <a:t>SiteCreationMode</a:t>
          </a:r>
          <a:r>
            <a:rPr lang="en-US" sz="2300" kern="1200" dirty="0"/>
            <a:t> </a:t>
          </a:r>
          <a:br>
            <a:rPr lang="en-US" sz="2300" kern="1200" dirty="0"/>
          </a:br>
          <a:endParaRPr lang="nb-NO" sz="2300" kern="1200" dirty="0"/>
        </a:p>
      </dsp:txBody>
      <dsp:txXfrm>
        <a:off x="0" y="760895"/>
        <a:ext cx="10880725" cy="1500750"/>
      </dsp:txXfrm>
    </dsp:sp>
    <dsp:sp modelId="{98A557E1-0D3A-41AD-8828-0E0DF0381DCA}">
      <dsp:nvSpPr>
        <dsp:cNvPr id="0" name=""/>
        <dsp:cNvSpPr/>
      </dsp:nvSpPr>
      <dsp:spPr>
        <a:xfrm>
          <a:off x="0" y="2261645"/>
          <a:ext cx="10880725" cy="7464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Set-</a:t>
          </a:r>
          <a:r>
            <a:rPr lang="en-US" sz="2900" kern="1200" dirty="0" err="1"/>
            <a:t>SPOTenant</a:t>
          </a:r>
          <a:r>
            <a:rPr lang="en-US" sz="2900" kern="1200" dirty="0"/>
            <a:t> –</a:t>
          </a:r>
          <a:r>
            <a:rPr lang="en-US" sz="2900" kern="1200" dirty="0" err="1"/>
            <a:t>ShowEveryoneClaim</a:t>
          </a:r>
          <a:endParaRPr lang="nb-NO" sz="2900" kern="1200" dirty="0"/>
        </a:p>
      </dsp:txBody>
      <dsp:txXfrm>
        <a:off x="36439" y="2298084"/>
        <a:ext cx="10807847" cy="673582"/>
      </dsp:txXfrm>
    </dsp:sp>
    <dsp:sp modelId="{7A4A4BF7-0230-4266-A00C-4331A0504209}">
      <dsp:nvSpPr>
        <dsp:cNvPr id="0" name=""/>
        <dsp:cNvSpPr/>
      </dsp:nvSpPr>
      <dsp:spPr>
        <a:xfrm>
          <a:off x="0" y="3008105"/>
          <a:ext cx="10880725" cy="11405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Set-</a:t>
          </a:r>
          <a:r>
            <a:rPr lang="en-US" sz="2300" kern="1200" dirty="0" err="1"/>
            <a:t>SPOTenant</a:t>
          </a:r>
          <a:r>
            <a:rPr lang="en-US" sz="2300" kern="1200" dirty="0"/>
            <a:t> -</a:t>
          </a:r>
          <a:r>
            <a:rPr lang="en-US" sz="2300" kern="1200" dirty="0" err="1"/>
            <a:t>ShowEveryoneClaim</a:t>
          </a:r>
          <a:r>
            <a:rPr lang="en-US" sz="2300" kern="1200" dirty="0"/>
            <a:t> $false</a:t>
          </a:r>
          <a:br>
            <a:rPr lang="en-US" sz="2300" kern="1200" dirty="0"/>
          </a:br>
          <a:r>
            <a:rPr lang="en-US" sz="2300" kern="1200" dirty="0"/>
            <a:t>This example hides the "Everyone Except External Users" claim in People Picker.</a:t>
          </a:r>
          <a:endParaRPr lang="nb-NO" sz="2300" kern="1200" dirty="0"/>
        </a:p>
      </dsp:txBody>
      <dsp:txXfrm>
        <a:off x="0" y="3008105"/>
        <a:ext cx="10880725" cy="114056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9/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msdn.microsoft.com/en-us/library/dd878348(VS.85).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mailto:admin@mytenant.onmicrosoft.com"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technet.microsoft.com/en-us/library/fp161400(v=office.15).aspx" TargetMode="External"/><Relationship Id="rId5" Type="http://schemas.openxmlformats.org/officeDocument/2006/relationships/hyperlink" Target="http://technet.microsoft.com/en-us/library/fp161377(v=office.15).aspx" TargetMode="External"/><Relationship Id="rId4" Type="http://schemas.openxmlformats.org/officeDocument/2006/relationships/hyperlink" Target="http://technet.microsoft.com/en-us/library/fp161364(v=office.15).aspx"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portal.microsoftonline.com/Signup/MainSignup15.aspx?OfferId=D214930B-46C2-4FD2-B7F9-EC134993F34A&amp;dl=ENTERPRISEPACK_B_PILOT&amp;pc=O365-Preview-2012&amp;ali=1"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shell/sharepoint/sharepoint-online/connect-sharepoint-online?view=sharepoint-p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598661253"/>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r>
              <a:rPr lang="en-US" u="none" baseline="0" dirty="0">
                <a:effectLst/>
              </a:rPr>
              <a:t>The </a:t>
            </a:r>
            <a:r>
              <a:rPr lang="en-US" b="1" u="none" baseline="0" dirty="0">
                <a:effectLst/>
              </a:rPr>
              <a:t>Get-</a:t>
            </a:r>
            <a:r>
              <a:rPr lang="en-US" b="1" u="none" baseline="0" dirty="0" err="1">
                <a:effectLst/>
              </a:rPr>
              <a:t>SPOExtrenalUser</a:t>
            </a:r>
            <a:r>
              <a:rPr lang="en-US" u="none" baseline="0" dirty="0">
                <a:effectLst/>
              </a:rPr>
              <a:t> cmdlet r</a:t>
            </a:r>
            <a:r>
              <a:rPr lang="en-US" dirty="0">
                <a:effectLst/>
              </a:rPr>
              <a:t>eturns external users that are located in the tenant based on specified criteria.</a:t>
            </a:r>
          </a:p>
          <a:p>
            <a:endParaRPr lang="en-US" dirty="0"/>
          </a:p>
          <a:p>
            <a:r>
              <a:rPr lang="en-US" dirty="0">
                <a:effectLst/>
              </a:rPr>
              <a:t>The </a:t>
            </a:r>
            <a:r>
              <a:rPr lang="en-US" b="1" dirty="0">
                <a:effectLst/>
              </a:rPr>
              <a:t>Remove-</a:t>
            </a:r>
            <a:r>
              <a:rPr lang="en-US" b="1" dirty="0" err="1">
                <a:effectLst/>
              </a:rPr>
              <a:t>SPOExternalUser</a:t>
            </a:r>
            <a:r>
              <a:rPr lang="en-US" dirty="0">
                <a:effectLst/>
              </a:rPr>
              <a:t> cmdlet permanently removes a collection of external users from the tenant.</a:t>
            </a:r>
          </a:p>
          <a:p>
            <a:endParaRPr lang="en-US" dirty="0"/>
          </a:p>
          <a:p>
            <a:endParaRPr lang="en-US" dirty="0">
              <a:effectLst/>
            </a:endParaRPr>
          </a:p>
          <a:p>
            <a:endParaRPr lang="en-US" dirty="0">
              <a:effectLst/>
            </a:endParaRPr>
          </a:p>
          <a:p>
            <a:pPr marL="0" indent="0">
              <a:buNone/>
            </a:pPr>
            <a:r>
              <a:rPr lang="en-US" dirty="0"/>
              <a:t>For example </a:t>
            </a:r>
            <a:r>
              <a:rPr lang="en-US" b="1" dirty="0"/>
              <a:t>Get-</a:t>
            </a:r>
            <a:r>
              <a:rPr lang="en-US" b="1" dirty="0" err="1"/>
              <a:t>SPOExternalUser</a:t>
            </a:r>
            <a:r>
              <a:rPr lang="en-US" b="1" dirty="0"/>
              <a:t> -Position 2 -</a:t>
            </a:r>
            <a:r>
              <a:rPr lang="en-US" b="1" dirty="0" err="1"/>
              <a:t>PageSize</a:t>
            </a:r>
            <a:r>
              <a:rPr lang="en-US" b="1" dirty="0"/>
              <a:t> 2 </a:t>
            </a:r>
            <a:r>
              <a:rPr lang="en-US" dirty="0"/>
              <a:t>returns two external users from the third page of the collection.</a:t>
            </a:r>
            <a:endParaRPr lang="en-US" b="1" dirty="0"/>
          </a:p>
          <a:p>
            <a:endParaRPr lang="en-US" dirty="0">
              <a:effectLst/>
            </a:endParaRPr>
          </a:p>
          <a:p>
            <a:endParaRPr lang="en-US" dirty="0"/>
          </a:p>
        </p:txBody>
      </p:sp>
      <p:sp>
        <p:nvSpPr>
          <p:cNvPr id="3" name="Slide Number Placeholder 2"/>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216574148"/>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b="1" dirty="0"/>
              <a:t>Get-</a:t>
            </a:r>
            <a:r>
              <a:rPr lang="en-US" b="1" dirty="0" err="1"/>
              <a:t>SPOSiteGroup</a:t>
            </a:r>
            <a:r>
              <a:rPr lang="en-US" dirty="0"/>
              <a:t>: Gets all the groups on the specified site collection.</a:t>
            </a:r>
          </a:p>
          <a:p>
            <a:pPr lvl="0"/>
            <a:r>
              <a:rPr lang="en-US" b="1" dirty="0"/>
              <a:t>New-</a:t>
            </a:r>
            <a:r>
              <a:rPr lang="en-US" b="1" dirty="0" err="1"/>
              <a:t>SPOSiteGroup</a:t>
            </a:r>
            <a:r>
              <a:rPr lang="en-US" dirty="0"/>
              <a:t>: Creates a new group in a SharePoint Online site collection.</a:t>
            </a:r>
          </a:p>
          <a:p>
            <a:pPr lvl="0"/>
            <a:r>
              <a:rPr lang="en-US" b="1" dirty="0"/>
              <a:t>Remove-</a:t>
            </a:r>
            <a:r>
              <a:rPr lang="en-US" b="1" dirty="0" err="1"/>
              <a:t>SPOSiteGroup</a:t>
            </a:r>
            <a:r>
              <a:rPr lang="en-US" dirty="0"/>
              <a:t>: Removes a SharePoint Online group from a site collection.</a:t>
            </a:r>
          </a:p>
          <a:p>
            <a:pPr lvl="0"/>
            <a:r>
              <a:rPr lang="en-US" b="1" dirty="0"/>
              <a:t>Set-</a:t>
            </a:r>
            <a:r>
              <a:rPr lang="en-US" b="1" dirty="0" err="1"/>
              <a:t>SPOSiteGroup</a:t>
            </a:r>
            <a:r>
              <a:rPr lang="en-US" b="1" dirty="0"/>
              <a:t>: </a:t>
            </a:r>
            <a:r>
              <a:rPr lang="en-US" dirty="0"/>
              <a:t>Updates the SharePoint Online owner and permission levels on a group inside a site collection.</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157530761"/>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lnSpc>
                <a:spcPts val="1500"/>
              </a:lnSpc>
              <a:buNone/>
            </a:pPr>
            <a:r>
              <a:rPr lang="en-US" b="1" dirty="0">
                <a:ea typeface="MS Mincho" panose="02020609040205080304" pitchFamily="49" charset="-128"/>
                <a:cs typeface="Times New Roman" panose="02020603050405020304" pitchFamily="18" charset="0"/>
              </a:rPr>
              <a:t>Restore a Deleted Site Collection</a:t>
            </a:r>
            <a:endParaRPr lang="en-US" dirty="0">
              <a:ea typeface="MS Mincho" panose="02020609040205080304" pitchFamily="49" charset="-128"/>
              <a:cs typeface="Times New Roman" panose="02020603050405020304" pitchFamily="18" charset="0"/>
            </a:endParaRPr>
          </a:p>
          <a:p>
            <a:pPr marL="0" indent="0">
              <a:lnSpc>
                <a:spcPts val="1500"/>
              </a:lnSpc>
              <a:buNone/>
            </a:pPr>
            <a:r>
              <a:rPr lang="en-US" dirty="0">
                <a:ea typeface="MS Mincho" panose="02020609040205080304" pitchFamily="49" charset="-128"/>
                <a:cs typeface="Times New Roman" panose="02020603050405020304" pitchFamily="18" charset="0"/>
              </a:rPr>
              <a:t>The Recycle Bin in SharePoint Online for Enterprises provides a safety net when an entire site collection is deleted. When a SharePoint Online Administrator deletes a site collection, it is placed in the Recycle Bin, where it is kept for 30 days, before it is automatically deleted permanently.</a:t>
            </a:r>
          </a:p>
          <a:p>
            <a:pPr>
              <a:lnSpc>
                <a:spcPts val="1500"/>
              </a:lnSpc>
            </a:pPr>
            <a:r>
              <a:rPr lang="en-US" dirty="0">
                <a:ea typeface="MS Mincho" panose="02020609040205080304" pitchFamily="49" charset="-128"/>
                <a:cs typeface="Times New Roman" panose="02020603050405020304" pitchFamily="18" charset="0"/>
              </a:rPr>
              <a:t>The </a:t>
            </a:r>
            <a:r>
              <a:rPr lang="en-US" b="1" dirty="0">
                <a:latin typeface="Consolas" panose="020B0609020204030204" pitchFamily="49" charset="0"/>
                <a:ea typeface="MS Mincho" panose="02020609040205080304" pitchFamily="49" charset="-128"/>
                <a:cs typeface="Times New Roman" panose="02020603050405020304" pitchFamily="18" charset="0"/>
              </a:rPr>
              <a:t>G</a:t>
            </a:r>
            <a:r>
              <a:rPr lang="en-US" b="1" dirty="0">
                <a:ea typeface="MS Mincho" panose="02020609040205080304" pitchFamily="49" charset="-128"/>
                <a:cs typeface="Times New Roman" panose="02020603050405020304" pitchFamily="18" charset="0"/>
              </a:rPr>
              <a:t>et-</a:t>
            </a:r>
            <a:r>
              <a:rPr lang="en-US" b="1" dirty="0" err="1">
                <a:ea typeface="MS Mincho" panose="02020609040205080304" pitchFamily="49" charset="-128"/>
                <a:cs typeface="Times New Roman" panose="02020603050405020304" pitchFamily="18" charset="0"/>
              </a:rPr>
              <a:t>SPODeletedSite</a:t>
            </a:r>
            <a:r>
              <a:rPr lang="en-US" dirty="0">
                <a:ea typeface="MS Mincho" panose="02020609040205080304" pitchFamily="49" charset="-128"/>
                <a:cs typeface="Times New Roman" panose="02020603050405020304" pitchFamily="18" charset="0"/>
              </a:rPr>
              <a:t> cmdlet returns all deleted site collections that match the given criteria from the Recycle Bin.</a:t>
            </a:r>
          </a:p>
          <a:p>
            <a:pPr>
              <a:lnSpc>
                <a:spcPts val="1500"/>
              </a:lnSpc>
            </a:pPr>
            <a:r>
              <a:rPr lang="en-US" dirty="0">
                <a:ea typeface="MS Mincho" panose="02020609040205080304" pitchFamily="49" charset="-128"/>
                <a:cs typeface="Times New Roman" panose="02020603050405020304" pitchFamily="18" charset="0"/>
              </a:rPr>
              <a:t>You must be a SharePoint Online global administrator and a site collection administrator for the deleted site collections to run the cmdlet.</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Restore-</a:t>
            </a:r>
            <a:r>
              <a:rPr lang="en-US" b="1" dirty="0" err="1">
                <a:ea typeface="MS Mincho" panose="02020609040205080304" pitchFamily="49" charset="-128"/>
                <a:cs typeface="Times New Roman" panose="02020603050405020304" pitchFamily="18" charset="0"/>
              </a:rPr>
              <a:t>SPODeletedSite</a:t>
            </a:r>
            <a:r>
              <a:rPr lang="en-US" dirty="0">
                <a:ea typeface="MS Mincho" panose="02020609040205080304" pitchFamily="49" charset="-128"/>
                <a:cs typeface="Times New Roman" panose="02020603050405020304" pitchFamily="18" charset="0"/>
              </a:rPr>
              <a:t> cmdlet restores a SharePoint Online deleted site collection from the Recycle Bin.</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DeletedSite</a:t>
            </a:r>
            <a:r>
              <a:rPr lang="en-US" dirty="0">
                <a:ea typeface="MS Mincho" panose="02020609040205080304" pitchFamily="49" charset="-128"/>
                <a:cs typeface="Times New Roman" panose="02020603050405020304" pitchFamily="18" charset="0"/>
              </a:rPr>
              <a:t> cmdlet permanently removes a SharePoint Online deleted site collection from the Recycle Bin.</a:t>
            </a:r>
          </a:p>
          <a:p>
            <a:pPr>
              <a:lnSpc>
                <a:spcPts val="1500"/>
              </a:lnSpc>
            </a:pPr>
            <a:r>
              <a:rPr lang="en-US" dirty="0">
                <a:ea typeface="MS Mincho" panose="02020609040205080304" pitchFamily="49" charset="-128"/>
                <a:cs typeface="Times New Roman" panose="02020603050405020304" pitchFamily="18" charset="0"/>
              </a:rPr>
              <a:t>You have to be a SharePoint Online global administrator and site collection administrator permissions to run the cmdlet.</a:t>
            </a:r>
          </a:p>
          <a:p>
            <a:pPr>
              <a:lnSpc>
                <a:spcPts val="1500"/>
              </a:lnSpc>
            </a:pPr>
            <a:r>
              <a:rPr lang="en-US" dirty="0">
                <a:latin typeface="Consolas" panose="020B0609020204030204" pitchFamily="49" charset="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contains more than one parameter set. You may only use parameters from one parameter set, and you may not combine parameters from different parameter sets.</a:t>
            </a:r>
          </a:p>
          <a:p>
            <a:pPr marL="0" indent="0">
              <a:lnSpc>
                <a:spcPts val="1500"/>
              </a:lnSpc>
              <a:buNone/>
            </a:pPr>
            <a:r>
              <a:rPr lang="en-US" dirty="0">
                <a:ea typeface="MS Mincho" panose="02020609040205080304" pitchFamily="49" charset="-128"/>
                <a:cs typeface="Times New Roman" panose="02020603050405020304" pitchFamily="18" charset="0"/>
              </a:rPr>
              <a:t> </a:t>
            </a:r>
          </a:p>
          <a:p>
            <a:pPr marL="344472" lvl="2" indent="0">
              <a:lnSpc>
                <a:spcPts val="1500"/>
              </a:lnSpc>
              <a:buNone/>
            </a:pPr>
            <a:r>
              <a:rPr lang="en-US" b="1" dirty="0">
                <a:ea typeface="MS Mincho" panose="02020609040205080304" pitchFamily="49" charset="-128"/>
                <a:cs typeface="Times New Roman" panose="02020603050405020304" pitchFamily="18" charset="0"/>
              </a:rPr>
              <a:t>For more information</a:t>
            </a:r>
            <a:r>
              <a:rPr lang="en-US" dirty="0">
                <a:ea typeface="MS Mincho" panose="02020609040205080304" pitchFamily="49" charset="-128"/>
                <a:cs typeface="Times New Roman" panose="02020603050405020304" pitchFamily="18" charset="0"/>
              </a:rPr>
              <a:t> about how to use parameter sets, see Cmdlet Parameter Sets - </a:t>
            </a:r>
            <a:r>
              <a:rPr lang="en-US" u="sng" dirty="0">
                <a:solidFill>
                  <a:srgbClr val="0563C1"/>
                </a:solidFill>
                <a:ea typeface="MS Mincho" panose="02020609040205080304" pitchFamily="49" charset="-128"/>
                <a:cs typeface="Times New Roman" panose="02020603050405020304" pitchFamily="18" charset="0"/>
                <a:hlinkClick r:id="rId3"/>
              </a:rPr>
              <a:t>http://msdn.microsoft.com/en-us/library/dd878348(VS.85).aspx</a:t>
            </a:r>
            <a:r>
              <a:rPr lang="en-US" dirty="0">
                <a:ea typeface="MS Mincho" panose="02020609040205080304" pitchFamily="49" charset="-128"/>
                <a:cs typeface="Times New Roman" panose="02020603050405020304" pitchFamily="18" charset="0"/>
              </a:rPr>
              <a:t>.</a:t>
            </a:r>
          </a:p>
          <a:p>
            <a:pPr marL="344472" lvl="2" indent="0">
              <a:lnSpc>
                <a:spcPts val="1500"/>
              </a:lnSpc>
              <a:buNone/>
            </a:pPr>
            <a:r>
              <a:rPr lang="en-US" dirty="0">
                <a:ea typeface="MS Mincho" panose="02020609040205080304" pitchFamily="49" charset="-128"/>
                <a:cs typeface="Times New Roman" panose="02020603050405020304" pitchFamily="18" charset="0"/>
              </a:rPr>
              <a:t> </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retrieves and returns properties of all site collections that match the given criteria.</a:t>
            </a:r>
          </a:p>
          <a:p>
            <a:pPr marL="0" indent="0">
              <a:lnSpc>
                <a:spcPts val="1500"/>
              </a:lnSpc>
              <a:buNone/>
            </a:pPr>
            <a:endParaRPr lang="en-US" b="1" dirty="0">
              <a:ea typeface="MS Mincho" panose="02020609040205080304" pitchFamily="49" charset="-128"/>
              <a:cs typeface="Times New Roman" panose="02020603050405020304" pitchFamily="18" charset="0"/>
            </a:endParaRPr>
          </a:p>
          <a:p>
            <a:pPr marL="0" indent="0">
              <a:lnSpc>
                <a:spcPts val="1500"/>
              </a:lnSpc>
              <a:buNone/>
            </a:pPr>
            <a:r>
              <a:rPr lang="en-US" b="1" dirty="0">
                <a:ea typeface="MS Mincho" panose="02020609040205080304" pitchFamily="49" charset="-128"/>
                <a:cs typeface="Times New Roman" panose="02020603050405020304" pitchFamily="18" charset="0"/>
              </a:rPr>
              <a:t>Note: </a:t>
            </a:r>
            <a:r>
              <a:rPr lang="en-US" dirty="0">
                <a:ea typeface="MS Mincho" panose="02020609040205080304" pitchFamily="49" charset="-128"/>
                <a:cs typeface="Times New Roman" panose="02020603050405020304" pitchFamily="18" charset="0"/>
              </a:rPr>
              <a:t>Site collections in the Recycle Bin will not be retrieved by using the </a:t>
            </a:r>
            <a:r>
              <a:rPr lang="en-US" b="1" dirty="0">
                <a:latin typeface="Consolas" panose="020B0609020204030204" pitchFamily="49" charset="0"/>
                <a:ea typeface="MS Mincho" panose="02020609040205080304" pitchFamily="49" charset="-128"/>
                <a:cs typeface="Times New Roman" panose="02020603050405020304" pitchFamily="18" charset="0"/>
              </a:rPr>
              <a:t>Get-</a:t>
            </a:r>
            <a:r>
              <a:rPr lang="en-US" b="1" dirty="0" err="1">
                <a:latin typeface="Consolas" panose="020B0609020204030204" pitchFamily="49" charset="0"/>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a:t>
            </a:r>
          </a:p>
          <a:p>
            <a:pPr marL="0" indent="0">
              <a:lnSpc>
                <a:spcPts val="1500"/>
              </a:lnSpc>
              <a:buNone/>
            </a:pPr>
            <a:endParaRPr lang="en-US" dirty="0">
              <a:ea typeface="MS Mincho" panose="02020609040205080304" pitchFamily="49" charset="-128"/>
              <a:cs typeface="Times New Roman" panose="02020603050405020304" pitchFamily="18" charset="0"/>
            </a:endParaRPr>
          </a:p>
          <a:p>
            <a:pPr marL="0" indent="0">
              <a:lnSpc>
                <a:spcPts val="1500"/>
              </a:lnSpc>
              <a:spcAft>
                <a:spcPts val="600"/>
              </a:spcAft>
              <a:buNone/>
            </a:pPr>
            <a:r>
              <a:rPr lang="en-US" dirty="0">
                <a:ea typeface="MS Mincho" panose="02020609040205080304" pitchFamily="49" charset="-128"/>
                <a:cs typeface="Times New Roman" panose="02020603050405020304" pitchFamily="18" charset="0"/>
              </a:rPr>
              <a:t>You need to be a SharePoint Online global administrator and a site collection administrator to run the cmdlet.</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New-</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creates a new site collection for the current company. However, if a deleted site with the same URL exists in the Recycle Bin, creating a new SharePoint Online site collection fails.</a:t>
            </a:r>
          </a:p>
          <a:p>
            <a:pPr marL="182563" indent="0">
              <a:lnSpc>
                <a:spcPts val="1500"/>
              </a:lnSpc>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does not delete a site collection from the site collections list permanently. Instead, the removed site collection is moved to the Recycle Bin. You can use the </a:t>
            </a:r>
            <a:r>
              <a:rPr lang="en-US" b="1" dirty="0">
                <a:ea typeface="MS Mincho" panose="02020609040205080304" pitchFamily="49" charset="-128"/>
                <a:cs typeface="Times New Roman" panose="02020603050405020304" pitchFamily="18" charset="0"/>
              </a:rPr>
              <a:t>Restore-</a:t>
            </a:r>
            <a:r>
              <a:rPr lang="en-US" b="1" dirty="0" err="1">
                <a:ea typeface="MS Mincho" panose="02020609040205080304" pitchFamily="49" charset="-128"/>
                <a:cs typeface="Times New Roman" panose="02020603050405020304" pitchFamily="18" charset="0"/>
              </a:rPr>
              <a:t>SPODeleted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to restore a site collection from the Recycle Bin. To delete a site collection permanently, first move the site collection to the Recycle Bin by using the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Site</a:t>
            </a:r>
            <a:r>
              <a:rPr lang="en-US" dirty="0">
                <a:ea typeface="MS Mincho" panose="02020609040205080304" pitchFamily="49" charset="-128"/>
                <a:cs typeface="Times New Roman" panose="02020603050405020304" pitchFamily="18" charset="0"/>
              </a:rPr>
              <a:t> cmdlet, and then delete it from the Recycle Bin by using the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DeletedSite</a:t>
            </a:r>
            <a:r>
              <a:rPr lang="en-US" dirty="0">
                <a:ea typeface="MS Mincho" panose="02020609040205080304" pitchFamily="49" charset="-128"/>
                <a:cs typeface="Times New Roman" panose="02020603050405020304" pitchFamily="18" charset="0"/>
              </a:rPr>
              <a:t> cmdlet.</a:t>
            </a:r>
          </a:p>
          <a:p>
            <a:pPr marL="182563" indent="0">
              <a:lnSpc>
                <a:spcPts val="1500"/>
              </a:lnSpc>
              <a:buNone/>
            </a:pPr>
            <a:r>
              <a:rPr lang="en-US" dirty="0">
                <a:ea typeface="MS Mincho" panose="02020609040205080304" pitchFamily="49" charset="-128"/>
                <a:cs typeface="Times New Roman" panose="02020603050405020304" pitchFamily="18" charset="0"/>
              </a:rPr>
              <a:t>You must be a SharePoint Online global administrator and a site collection administrator to run the cmdlet.</a:t>
            </a:r>
          </a:p>
          <a:p>
            <a:pPr>
              <a:lnSpc>
                <a:spcPts val="1500"/>
              </a:lnSpc>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Repair-</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runs one or all site collection health checks on the site collection and its contents. This cmdlet will make changes, if issues are found and automatically repairable.</a:t>
            </a:r>
          </a:p>
          <a:p>
            <a:pPr>
              <a:lnSpc>
                <a:spcPts val="1500"/>
              </a:lnSpc>
            </a:pPr>
            <a:r>
              <a:rPr lang="en-US" dirty="0">
                <a:ea typeface="MS Mincho" panose="02020609040205080304" pitchFamily="49" charset="-128"/>
                <a:cs typeface="Times New Roman" panose="02020603050405020304" pitchFamily="18" charset="0"/>
              </a:rPr>
              <a:t>The cmdlet reports the health check rules with a summary of the results. The rules might not support automatic repair. </a:t>
            </a:r>
          </a:p>
          <a:p>
            <a:pPr>
              <a:lnSpc>
                <a:spcPts val="1500"/>
              </a:lnSpc>
            </a:pPr>
            <a:r>
              <a:rPr lang="en-US" dirty="0">
                <a:ea typeface="MS Mincho" panose="02020609040205080304" pitchFamily="49" charset="-128"/>
                <a:cs typeface="Times New Roman" panose="02020603050405020304" pitchFamily="18" charset="0"/>
              </a:rPr>
              <a:t>Tests without repair mode can be initiated by running the </a:t>
            </a:r>
            <a:r>
              <a:rPr lang="en-US" b="1" dirty="0">
                <a:ea typeface="MS Mincho" panose="02020609040205080304" pitchFamily="49" charset="-128"/>
                <a:cs typeface="Times New Roman" panose="02020603050405020304" pitchFamily="18" charset="0"/>
              </a:rPr>
              <a:t>Tes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a:t>
            </a:r>
          </a:p>
          <a:p>
            <a:pPr marL="182563" indent="0">
              <a:lnSpc>
                <a:spcPts val="1500"/>
              </a:lnSpc>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marL="0" indent="0">
              <a:buNone/>
            </a:pPr>
            <a:endParaRPr lang="en-US" dirty="0"/>
          </a:p>
          <a:p>
            <a:pPr marL="0" indent="0">
              <a:lnSpc>
                <a:spcPts val="1500"/>
              </a:lnSpc>
              <a:buNone/>
            </a:pPr>
            <a:endParaRPr lang="en-US" dirty="0">
              <a:ea typeface="MS Mincho" panose="02020609040205080304" pitchFamily="49" charset="-128"/>
              <a:cs typeface="Times New Roman" panose="02020603050405020304" pitchFamily="18" charset="0"/>
            </a:endParaRP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26916929"/>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7800" indent="-177800">
              <a:lnSpc>
                <a:spcPts val="1500"/>
              </a:lnSpc>
              <a:spcAft>
                <a:spcPts val="600"/>
              </a:spcAft>
            </a:pPr>
            <a:r>
              <a:rPr lang="en-US" dirty="0">
                <a:ea typeface="MS Mincho" panose="02020609040205080304" pitchFamily="49" charset="-128"/>
                <a:cs typeface="Times New Roman" panose="02020603050405020304" pitchFamily="18" charset="0"/>
              </a:rPr>
              <a:t>NOTE: The </a:t>
            </a:r>
            <a:r>
              <a:rPr lang="en-US" b="1" dirty="0">
                <a:ea typeface="MS Mincho" panose="02020609040205080304" pitchFamily="49" charset="-128"/>
                <a:cs typeface="Times New Roman" panose="02020603050405020304" pitchFamily="18" charset="0"/>
              </a:rPr>
              <a:t>STS#3 </a:t>
            </a:r>
            <a:r>
              <a:rPr lang="en-US" b="0" dirty="0">
                <a:ea typeface="MS Mincho" panose="02020609040205080304" pitchFamily="49" charset="-128"/>
                <a:cs typeface="Times New Roman" panose="02020603050405020304" pitchFamily="18" charset="0"/>
              </a:rPr>
              <a:t>templa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is used to provision a modern site collection that is not connected to an Microsoft 365 Group</a:t>
            </a:r>
          </a:p>
          <a:p>
            <a:pPr marL="177800" indent="-177800">
              <a:lnSpc>
                <a:spcPts val="1500"/>
              </a:lnSpc>
              <a:spcAft>
                <a:spcPts val="600"/>
              </a:spcAft>
            </a:pPr>
            <a:r>
              <a:rPr lang="en-US" dirty="0">
                <a:ea typeface="MS Mincho" panose="02020609040205080304" pitchFamily="49" charset="-128"/>
                <a:cs typeface="Times New Roman" panose="02020603050405020304" pitchFamily="18" charset="0"/>
              </a:rPr>
              <a:t>If the -template parameter is not defined, the Blank site template will be used, and a site template will need to be selected once the site is accessed. </a:t>
            </a:r>
          </a:p>
          <a:p>
            <a:pPr marL="177800" indent="-177800">
              <a:lnSpc>
                <a:spcPts val="1500"/>
              </a:lnSpc>
              <a:spcAft>
                <a:spcPts val="600"/>
              </a:spcAft>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New-</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creates a new site collection for the current company. However, creating a new SharePoint Online site collection fails, if a deleted site with the same URL exists in the Recycle Bin.</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marL="177800" indent="0">
              <a:lnSpc>
                <a:spcPts val="1500"/>
              </a:lnSpc>
              <a:spcAft>
                <a:spcPts val="600"/>
              </a:spcAft>
              <a:buNone/>
            </a:pPr>
            <a:endParaRPr lang="en-US" dirty="0">
              <a:ea typeface="MS Mincho" panose="02020609040205080304" pitchFamily="49" charset="-128"/>
              <a:cs typeface="Times New Roman" panose="02020603050405020304" pitchFamily="18" charset="0"/>
            </a:endParaRPr>
          </a:p>
          <a:p>
            <a:pPr marL="177800" indent="0">
              <a:lnSpc>
                <a:spcPts val="1500"/>
              </a:lnSpc>
              <a:spcAft>
                <a:spcPts val="600"/>
              </a:spcAft>
              <a:buNone/>
            </a:pPr>
            <a:r>
              <a:rPr lang="en-US" sz="1050" b="0" i="0" u="none" strike="noStrike" kern="1200" noProof="0" dirty="0">
                <a:solidFill>
                  <a:schemeClr val="tx1"/>
                </a:solidFill>
                <a:effectLst/>
                <a:latin typeface="Segoe UI" pitchFamily="34" charset="0"/>
                <a:ea typeface="+mn-ea"/>
                <a:cs typeface="Segoe UI" pitchFamily="34" charset="0"/>
              </a:rPr>
              <a:t>If no template is specified, one can be selected later.</a:t>
            </a:r>
            <a:endParaRPr lang="en-US" dirty="0">
              <a:ea typeface="MS Mincho" panose="02020609040205080304" pitchFamily="49" charset="-128"/>
              <a:cs typeface="Times New Roman" panose="02020603050405020304" pitchFamily="18" charset="0"/>
            </a:endParaRPr>
          </a:p>
          <a:p>
            <a:pPr marL="177800" indent="0">
              <a:lnSpc>
                <a:spcPts val="1500"/>
              </a:lnSpc>
              <a:spcAft>
                <a:spcPts val="600"/>
              </a:spcAft>
              <a:buNone/>
            </a:pPr>
            <a:endParaRPr lang="en-US" dirty="0">
              <a:ea typeface="MS Mincho" panose="02020609040205080304" pitchFamily="49" charset="-128"/>
              <a:cs typeface="Times New Roman" panose="02020603050405020304" pitchFamily="18" charset="0"/>
            </a:endParaRPr>
          </a:p>
          <a:p>
            <a:pPr marL="177800" indent="0">
              <a:lnSpc>
                <a:spcPts val="1500"/>
              </a:lnSpc>
              <a:spcAft>
                <a:spcPts val="600"/>
              </a:spcAft>
              <a:buNone/>
            </a:pPr>
            <a:endParaRPr lang="en-US" dirty="0">
              <a:ea typeface="MS Mincho" panose="02020609040205080304" pitchFamily="49" charset="-128"/>
              <a:cs typeface="Times New Roman" panose="02020603050405020304" pitchFamily="18" charset="0"/>
            </a:endParaRP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Name                     Title                                       </a:t>
            </a:r>
            <a:r>
              <a:rPr lang="en-US" dirty="0" err="1">
                <a:ea typeface="MS Mincho" panose="02020609040205080304" pitchFamily="49" charset="-128"/>
                <a:cs typeface="Times New Roman" panose="02020603050405020304" pitchFamily="18" charset="0"/>
              </a:rPr>
              <a:t>LocaleId</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CompatibilityLevel</a:t>
            </a:r>
            <a:endParaRPr lang="en-US" dirty="0">
              <a:ea typeface="MS Mincho" panose="02020609040205080304" pitchFamily="49" charset="-128"/>
              <a:cs typeface="Times New Roman" panose="02020603050405020304" pitchFamily="18" charset="0"/>
            </a:endParaRP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                     -----                                       -------- ------------------</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STS#3                    Team sit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STS#0                    Team site (classic experienc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BLOG#0                   Blog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BDR#0                    Document Center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DEV#0                    Developer Sit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OFFILE#1                 Records Center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EHS#1                    Team Site - SharePoint Online configuration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BICenterSite#0           Business Intelligence Center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SRCHCEN#0                Enterprise Search Center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BLANKINTERNETCONTAINER#0 Publishing Portal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ENTERWIKI#0              Enterprise Wiki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PROJECTSITE#0            Project Sit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PRODUCTCATALOG#0         Product Catalog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COMMUNITY#0              Community Sit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COMMUNITYPORTAL#0        Community Portal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SITEPAGEPUBLISHING#0     Communication site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SRCHCENTERLITE#0         Basic Search Center                             1033                 15</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visprus#0                Visio Process Repository                        1033                 15</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1372418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7800" indent="-177800">
              <a:lnSpc>
                <a:spcPts val="1500"/>
              </a:lnSpc>
              <a:spcAft>
                <a:spcPts val="600"/>
              </a:spcAft>
            </a:pPr>
            <a:r>
              <a:rPr lang="en-US" dirty="0">
                <a:ea typeface="MS Mincho" panose="02020609040205080304" pitchFamily="49" charset="-128"/>
                <a:cs typeface="Times New Roman" panose="02020603050405020304" pitchFamily="18" charset="0"/>
              </a:rPr>
              <a:t>For any parameters that are passed in, the </a:t>
            </a:r>
            <a:r>
              <a:rPr lang="en-US" b="1" dirty="0">
                <a:ea typeface="MS Mincho" panose="02020609040205080304" pitchFamily="49" charset="-128"/>
                <a:cs typeface="Times New Roman" panose="02020603050405020304" pitchFamily="18" charset="0"/>
              </a:rPr>
              <a:t>Se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mdlet sets or updates the setting for the site collection, identified by parameter identity.</a:t>
            </a:r>
          </a:p>
          <a:p>
            <a:pPr marL="177800"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and a site collection administrator to run the cmdlet.</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040530397"/>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lnSpc>
                <a:spcPts val="1500"/>
              </a:lnSpc>
            </a:pPr>
            <a:endParaRPr lang="en-US" dirty="0">
              <a:ea typeface="MS Mincho" panose="02020609040205080304" pitchFamily="49" charset="-128"/>
              <a:cs typeface="Times New Roman" panose="02020603050405020304" pitchFamily="18" charset="0"/>
            </a:endParaRP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07861358"/>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69863" indent="-169863">
              <a:lnSpc>
                <a:spcPts val="1500"/>
              </a:lnSpc>
              <a:spcAft>
                <a:spcPts val="600"/>
              </a:spcAft>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Get-SPOTenant </a:t>
            </a:r>
            <a:r>
              <a:rPr lang="en-US" dirty="0">
                <a:ea typeface="MS Mincho" panose="02020609040205080304" pitchFamily="49" charset="-128"/>
                <a:cs typeface="Times New Roman" panose="02020603050405020304" pitchFamily="18" charset="0"/>
              </a:rPr>
              <a:t>cmdlet returns organization-level site collection properties, such as </a:t>
            </a:r>
            <a:r>
              <a:rPr lang="en-US" dirty="0" err="1">
                <a:ea typeface="MS Mincho" panose="02020609040205080304" pitchFamily="49" charset="-128"/>
                <a:cs typeface="Times New Roman" panose="02020603050405020304" pitchFamily="18" charset="0"/>
              </a:rPr>
              <a:t>StorageQuota</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StorageQuotaAllocated</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ResourceQuota</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ResourceQuotaAllocated</a:t>
            </a:r>
            <a:r>
              <a:rPr lang="en-US" dirty="0">
                <a:ea typeface="MS Mincho" panose="02020609040205080304" pitchFamily="49" charset="-128"/>
                <a:cs typeface="Times New Roman" panose="02020603050405020304" pitchFamily="18" charset="0"/>
              </a:rPr>
              <a:t>, and </a:t>
            </a:r>
            <a:r>
              <a:rPr lang="en-US" dirty="0" err="1">
                <a:ea typeface="MS Mincho" panose="02020609040205080304" pitchFamily="49" charset="-128"/>
                <a:cs typeface="Times New Roman" panose="02020603050405020304" pitchFamily="18" charset="0"/>
              </a:rPr>
              <a:t>SiteCreationMode</a:t>
            </a:r>
            <a:r>
              <a:rPr lang="en-US" dirty="0">
                <a:ea typeface="MS Mincho" panose="02020609040205080304" pitchFamily="49" charset="-128"/>
                <a:cs typeface="Times New Roman" panose="02020603050405020304" pitchFamily="18" charset="0"/>
              </a:rPr>
              <a:t>.</a:t>
            </a:r>
          </a:p>
          <a:p>
            <a:pPr marL="173028" lvl="1"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marL="169863" indent="-169863">
              <a:lnSpc>
                <a:spcPts val="1500"/>
              </a:lnSpc>
              <a:spcAft>
                <a:spcPts val="600"/>
              </a:spcAft>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TenantLogEntry</a:t>
            </a:r>
            <a:r>
              <a:rPr lang="en-US" dirty="0">
                <a:ea typeface="MS Mincho" panose="02020609040205080304" pitchFamily="49" charset="-128"/>
                <a:cs typeface="Times New Roman" panose="02020603050405020304" pitchFamily="18" charset="0"/>
              </a:rPr>
              <a:t> cmdlet cannot retrieve all the SharePoint Online errors. This cmdlet retrieves a subset of errors that happen due to external systems.</a:t>
            </a:r>
          </a:p>
          <a:p>
            <a:pPr marL="173028" lvl="1" indent="0">
              <a:lnSpc>
                <a:spcPts val="1500"/>
              </a:lnSpc>
              <a:spcAft>
                <a:spcPts val="600"/>
              </a:spcAft>
              <a:buNone/>
            </a:pPr>
            <a:r>
              <a:rPr lang="en-US" dirty="0">
                <a:ea typeface="MS Mincho" panose="02020609040205080304" pitchFamily="49" charset="-128"/>
                <a:cs typeface="Times New Roman" panose="02020603050405020304" pitchFamily="18" charset="0"/>
              </a:rPr>
              <a:t>Note: If you do not use any parameter, the first 1000 rows in descending time range are returned.</a:t>
            </a:r>
          </a:p>
          <a:p>
            <a:pPr marL="173028" lvl="1"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marL="169863" indent="-169863">
              <a:lnSpc>
                <a:spcPts val="1500"/>
              </a:lnSpc>
              <a:spcAft>
                <a:spcPts val="600"/>
              </a:spcAft>
            </a:pPr>
            <a:r>
              <a:rPr lang="en-US" dirty="0">
                <a:ea typeface="MS Mincho" panose="02020609040205080304" pitchFamily="49" charset="-128"/>
                <a:cs typeface="Times New Roman" panose="02020603050405020304" pitchFamily="18" charset="0"/>
              </a:rPr>
              <a:t> The </a:t>
            </a: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WebTemplate</a:t>
            </a:r>
            <a:r>
              <a:rPr lang="en-US" dirty="0">
                <a:ea typeface="MS Mincho" panose="02020609040205080304" pitchFamily="49" charset="-128"/>
                <a:cs typeface="Times New Roman" panose="02020603050405020304" pitchFamily="18" charset="0"/>
              </a:rPr>
              <a:t> cmdlet displays all site templates that match the given identity and are available in SharePoint Online.</a:t>
            </a:r>
          </a:p>
          <a:p>
            <a:pPr marL="173028" lvl="1"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to run the cmdlet.</a:t>
            </a:r>
          </a:p>
          <a:p>
            <a:pPr marL="169863" indent="-169863">
              <a:lnSpc>
                <a:spcPts val="1500"/>
              </a:lnSpc>
              <a:spcAft>
                <a:spcPts val="600"/>
              </a:spcAft>
            </a:pPr>
            <a:r>
              <a:rPr lang="en-US" dirty="0">
                <a:ea typeface="MS Mincho" panose="02020609040205080304" pitchFamily="49" charset="-128"/>
                <a:cs typeface="Times New Roman" panose="02020603050405020304" pitchFamily="18" charset="0"/>
              </a:rPr>
              <a:t>The </a:t>
            </a:r>
            <a:r>
              <a:rPr lang="en-US" b="1" dirty="0">
                <a:ea typeface="MS Mincho" panose="02020609040205080304" pitchFamily="49" charset="-128"/>
                <a:cs typeface="Times New Roman" panose="02020603050405020304" pitchFamily="18" charset="0"/>
              </a:rPr>
              <a:t>Get-SPOTenant</a:t>
            </a:r>
            <a:r>
              <a:rPr lang="en-US" dirty="0">
                <a:ea typeface="MS Mincho" panose="02020609040205080304" pitchFamily="49" charset="-128"/>
                <a:cs typeface="Times New Roman" panose="02020603050405020304" pitchFamily="18" charset="0"/>
              </a:rPr>
              <a:t> cmdlet returns organization-level site collection properties, such as </a:t>
            </a:r>
            <a:r>
              <a:rPr lang="en-US" dirty="0" err="1">
                <a:ea typeface="MS Mincho" panose="02020609040205080304" pitchFamily="49" charset="-128"/>
                <a:cs typeface="Times New Roman" panose="02020603050405020304" pitchFamily="18" charset="0"/>
              </a:rPr>
              <a:t>StorageQuota</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StorageQuotaAllocated</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ResourceQuota</a:t>
            </a:r>
            <a:r>
              <a:rPr lang="en-US" dirty="0">
                <a:ea typeface="MS Mincho" panose="02020609040205080304" pitchFamily="49" charset="-128"/>
                <a:cs typeface="Times New Roman" panose="02020603050405020304" pitchFamily="18" charset="0"/>
              </a:rPr>
              <a:t>, </a:t>
            </a:r>
            <a:r>
              <a:rPr lang="en-US" dirty="0" err="1">
                <a:ea typeface="MS Mincho" panose="02020609040205080304" pitchFamily="49" charset="-128"/>
                <a:cs typeface="Times New Roman" panose="02020603050405020304" pitchFamily="18" charset="0"/>
              </a:rPr>
              <a:t>ResourceQuotaAllocated</a:t>
            </a:r>
            <a:r>
              <a:rPr lang="en-US" dirty="0">
                <a:ea typeface="MS Mincho" panose="02020609040205080304" pitchFamily="49" charset="-128"/>
                <a:cs typeface="Times New Roman" panose="02020603050405020304" pitchFamily="18" charset="0"/>
              </a:rPr>
              <a:t>, and </a:t>
            </a:r>
            <a:r>
              <a:rPr lang="en-US" dirty="0" err="1">
                <a:ea typeface="MS Mincho" panose="02020609040205080304" pitchFamily="49" charset="-128"/>
                <a:cs typeface="Times New Roman" panose="02020603050405020304" pitchFamily="18" charset="0"/>
              </a:rPr>
              <a:t>SiteCreationMode</a:t>
            </a:r>
            <a:r>
              <a:rPr lang="en-US" dirty="0">
                <a:ea typeface="MS Mincho" panose="02020609040205080304" pitchFamily="49" charset="-128"/>
                <a:cs typeface="Times New Roman" panose="02020603050405020304" pitchFamily="18" charset="0"/>
              </a:rPr>
              <a:t>.</a:t>
            </a:r>
          </a:p>
          <a:p>
            <a:pPr marL="185738" indent="0">
              <a:lnSpc>
                <a:spcPts val="1500"/>
              </a:lnSpc>
              <a:spcAft>
                <a:spcPts val="600"/>
              </a:spcAft>
              <a:buNone/>
            </a:pPr>
            <a:r>
              <a:rPr lang="en-US" dirty="0">
                <a:ea typeface="MS Mincho" panose="02020609040205080304" pitchFamily="49" charset="-128"/>
                <a:cs typeface="Times New Roman" panose="02020603050405020304" pitchFamily="18" charset="0"/>
              </a:rPr>
              <a:t>You must be a SharePoint Online global administrator to run the cmdlet.</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07861358"/>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69863" indent="-169863">
              <a:lnSpc>
                <a:spcPts val="1500"/>
              </a:lnSpc>
              <a:spcAft>
                <a:spcPts val="600"/>
              </a:spcAft>
            </a:pPr>
            <a:r>
              <a:rPr lang="en-US" sz="1000" dirty="0">
                <a:effectLst/>
              </a:rPr>
              <a:t>The </a:t>
            </a:r>
            <a:r>
              <a:rPr lang="en-US" sz="1000" b="1" dirty="0">
                <a:effectLst/>
              </a:rPr>
              <a:t>Get-</a:t>
            </a:r>
            <a:r>
              <a:rPr lang="en-US" sz="1000" b="1" dirty="0" err="1">
                <a:effectLst/>
              </a:rPr>
              <a:t>SPOTenantSyncClientRestriction</a:t>
            </a:r>
            <a:r>
              <a:rPr lang="en-US" sz="1000" dirty="0">
                <a:effectLst/>
              </a:rPr>
              <a:t> cmdlet returns whether the </a:t>
            </a:r>
            <a:r>
              <a:rPr lang="en-US" sz="1000" dirty="0" err="1">
                <a:effectLst/>
              </a:rPr>
              <a:t>TenantRestrictionEnabled</a:t>
            </a:r>
            <a:r>
              <a:rPr lang="en-US" sz="1000" dirty="0">
                <a:effectLst/>
              </a:rPr>
              <a:t> property is true or false, and it returns </a:t>
            </a:r>
            <a:r>
              <a:rPr lang="en-US" sz="1000" dirty="0" err="1">
                <a:effectLst/>
              </a:rPr>
              <a:t>DomainGUIDs</a:t>
            </a:r>
            <a:r>
              <a:rPr lang="en-US" sz="1000" dirty="0">
                <a:effectLst/>
              </a:rPr>
              <a:t> that are currently in the safe recipient list which is represented by the </a:t>
            </a:r>
            <a:r>
              <a:rPr lang="en-US" sz="1000" dirty="0" err="1">
                <a:effectLst/>
              </a:rPr>
              <a:t>AllowedDomainList</a:t>
            </a:r>
            <a:r>
              <a:rPr lang="en-US" sz="1000" dirty="0">
                <a:effectLst/>
              </a:rPr>
              <a:t> property. </a:t>
            </a:r>
            <a:endParaRPr lang="en-US" sz="1000" dirty="0">
              <a:effectLst/>
              <a:ea typeface="MS Mincho" panose="02020609040205080304" pitchFamily="49" charset="-128"/>
              <a:cs typeface="Times New Roman" panose="02020603050405020304" pitchFamily="18" charset="0"/>
            </a:endParaRPr>
          </a:p>
          <a:p>
            <a:r>
              <a:rPr lang="en-US" sz="1000" dirty="0">
                <a:effectLst/>
              </a:rPr>
              <a:t>The </a:t>
            </a:r>
            <a:r>
              <a:rPr lang="en-US" sz="1000" b="1" dirty="0">
                <a:effectLst/>
              </a:rPr>
              <a:t>Set-</a:t>
            </a:r>
            <a:r>
              <a:rPr lang="en-US" sz="1000" b="1" dirty="0" err="1">
                <a:effectLst/>
              </a:rPr>
              <a:t>SPOTenantSyncClientRestriction</a:t>
            </a:r>
            <a:r>
              <a:rPr lang="en-US" sz="1000" dirty="0">
                <a:effectLst/>
              </a:rPr>
              <a:t> cmdlet enables the feature for tenancy and sets the domain GUIDs in the safe recipients list. When this feature is enabled, it can take up to 24 hours for the change to take effect. However, any changes to the safe recipients list are reflected within five minutes.</a:t>
            </a:r>
          </a:p>
          <a:p>
            <a:pPr marL="0" indent="0">
              <a:buNone/>
            </a:pPr>
            <a:r>
              <a:rPr lang="en-US" sz="1000" dirty="0">
                <a:effectLst/>
              </a:rPr>
              <a:t>When this feature is enabled, the following will occur:</a:t>
            </a:r>
          </a:p>
          <a:p>
            <a:r>
              <a:rPr lang="en-US" sz="1000" dirty="0">
                <a:effectLst/>
              </a:rPr>
              <a:t>All OneDrive for Business sync client requests originating from a domain that is not on the safe recipients list will be blocked. </a:t>
            </a:r>
          </a:p>
          <a:p>
            <a:r>
              <a:rPr lang="en-US" sz="1000" dirty="0">
                <a:effectLst/>
              </a:rPr>
              <a:t>All OneDrive for Business Mac Sync client requests will be blocked.</a:t>
            </a:r>
          </a:p>
          <a:p>
            <a:r>
              <a:rPr lang="en-US" sz="1000" dirty="0">
                <a:effectLst/>
              </a:rPr>
              <a:t>Mobile clients are not blocked when this feature is enabled.</a:t>
            </a:r>
          </a:p>
          <a:p>
            <a:r>
              <a:rPr lang="en-US" sz="1000" dirty="0">
                <a:effectLst/>
              </a:rPr>
              <a:t>Regardless of whether a computer is managed by a device management solution, a sync relationship will not be established unless they are joined to a domain in the Safe Recipient List.</a:t>
            </a:r>
          </a:p>
          <a:p>
            <a:r>
              <a:rPr lang="en-US" sz="1000" dirty="0">
                <a:effectLst/>
              </a:rPr>
              <a:t>Any files that have been previously been synced down to your computer will not be deleted. </a:t>
            </a:r>
          </a:p>
          <a:p>
            <a:r>
              <a:rPr lang="en-US" sz="1000" dirty="0">
                <a:effectLst/>
              </a:rPr>
              <a:t>You need to be aware of the following upload behavior: </a:t>
            </a:r>
          </a:p>
          <a:p>
            <a:pPr lvl="1"/>
            <a:r>
              <a:rPr lang="en-US" sz="1000" dirty="0">
                <a:effectLst/>
              </a:rPr>
              <a:t>New or existing files added to the client will still be uploaded to the server and will not be blocked. </a:t>
            </a:r>
          </a:p>
          <a:p>
            <a:pPr lvl="2"/>
            <a:r>
              <a:rPr lang="en-US" sz="1000" dirty="0">
                <a:effectLst/>
              </a:rPr>
              <a:t>Regardless of whether the computer is joined to a domain that is set in the Safe Recipient List.</a:t>
            </a:r>
          </a:p>
          <a:p>
            <a:pPr lvl="2"/>
            <a:r>
              <a:rPr lang="en-US" sz="1000" dirty="0">
                <a:effectLst/>
              </a:rPr>
              <a:t>Regardless of whether the computer is joined to a domain that is not set in the Safe Recipient List. </a:t>
            </a:r>
          </a:p>
          <a:p>
            <a:pPr lvl="2"/>
            <a:r>
              <a:rPr lang="en-US" sz="1000" dirty="0">
                <a:effectLst/>
              </a:rPr>
              <a:t>For all non-domain joined computers. </a:t>
            </a:r>
          </a:p>
          <a:p>
            <a:r>
              <a:rPr lang="en-US" sz="1000" dirty="0">
                <a:effectLst/>
              </a:rPr>
              <a:t>OneDrive for Business sync client prior to version 15.0.4693.1000 will stop syncing existing libraries. </a:t>
            </a:r>
          </a:p>
          <a:p>
            <a:r>
              <a:rPr lang="en-US" sz="1000" dirty="0">
                <a:effectLst/>
              </a:rPr>
              <a:t>The </a:t>
            </a:r>
            <a:r>
              <a:rPr lang="en-US" sz="1000" b="1" dirty="0">
                <a:effectLst/>
              </a:rPr>
              <a:t>Remove-</a:t>
            </a:r>
            <a:r>
              <a:rPr lang="en-US" sz="1000" b="1" dirty="0" err="1">
                <a:effectLst/>
              </a:rPr>
              <a:t>SPOTenantSyncClientRestriction</a:t>
            </a:r>
            <a:r>
              <a:rPr lang="en-US" sz="1000" b="1" dirty="0">
                <a:effectLst/>
              </a:rPr>
              <a:t> </a:t>
            </a:r>
            <a:r>
              <a:rPr lang="en-US" sz="1000" dirty="0">
                <a:effectLst/>
              </a:rPr>
              <a:t>cmdlet disables the feature for tenancy, but does not remove any present domain GUID entries from the safe sender recipient list. After the </a:t>
            </a:r>
            <a:r>
              <a:rPr lang="en-US" sz="1000" b="1" dirty="0">
                <a:effectLst/>
              </a:rPr>
              <a:t>Remove-</a:t>
            </a:r>
            <a:r>
              <a:rPr lang="en-US" sz="1000" b="1" dirty="0" err="1">
                <a:effectLst/>
              </a:rPr>
              <a:t>SPOTenantSyncClientRestriction</a:t>
            </a:r>
            <a:r>
              <a:rPr lang="en-US" sz="1000" b="1" dirty="0">
                <a:effectLst/>
              </a:rPr>
              <a:t> </a:t>
            </a:r>
            <a:r>
              <a:rPr lang="en-US" sz="1000" dirty="0">
                <a:effectLst/>
              </a:rPr>
              <a:t>cmdlet is run, it can take up to 24 hours for the change to take effect. </a:t>
            </a:r>
          </a:p>
          <a:p>
            <a:pPr marL="169863" indent="-169863">
              <a:lnSpc>
                <a:spcPts val="1500"/>
              </a:lnSpc>
              <a:spcAft>
                <a:spcPts val="600"/>
              </a:spcAft>
            </a:pPr>
            <a:endParaRPr lang="en-US" sz="1000" dirty="0">
              <a:ea typeface="MS Mincho" panose="02020609040205080304" pitchFamily="49" charset="-128"/>
              <a:cs typeface="Times New Roman" panose="02020603050405020304" pitchFamily="18" charset="0"/>
            </a:endParaRP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72576127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295382092"/>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12939967"/>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452875526"/>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92737251"/>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ts val="1500"/>
              </a:lnSpc>
              <a:buNone/>
            </a:pPr>
            <a:r>
              <a:rPr lang="en-US" dirty="0">
                <a:ea typeface="MS Mincho" panose="02020609040205080304" pitchFamily="49" charset="-128"/>
                <a:cs typeface="Times New Roman" panose="02020603050405020304" pitchFamily="18" charset="0"/>
              </a:rPr>
              <a:t>Demonstrate the following:</a:t>
            </a:r>
          </a:p>
          <a:p>
            <a:pPr marL="185738" indent="-185738">
              <a:lnSpc>
                <a:spcPts val="1500"/>
              </a:lnSpc>
            </a:pPr>
            <a:r>
              <a:rPr lang="en-US" dirty="0">
                <a:ea typeface="MS Mincho" panose="02020609040205080304" pitchFamily="49" charset="-128"/>
                <a:cs typeface="Times New Roman" panose="02020603050405020304" pitchFamily="18" charset="0"/>
              </a:rPr>
              <a:t>To connect to SharePoint Online, use the </a:t>
            </a:r>
            <a:r>
              <a:rPr lang="en-US" b="1" dirty="0">
                <a:ea typeface="MS Mincho" panose="02020609040205080304" pitchFamily="49" charset="-128"/>
                <a:cs typeface="Times New Roman" panose="02020603050405020304" pitchFamily="18" charset="0"/>
              </a:rPr>
              <a:t>Connect-</a:t>
            </a:r>
            <a:r>
              <a:rPr lang="en-US" b="1" dirty="0" err="1">
                <a:ea typeface="MS Mincho" panose="02020609040205080304" pitchFamily="49" charset="-128"/>
                <a:cs typeface="Times New Roman" panose="02020603050405020304" pitchFamily="18" charset="0"/>
              </a:rPr>
              <a:t>SPOServic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ommand. It takes the URL to your tenant administrator and a username. When you connect, you will be prompted for your password.</a:t>
            </a:r>
          </a:p>
          <a:p>
            <a:pPr marL="185738" indent="0">
              <a:lnSpc>
                <a:spcPts val="1500"/>
              </a:lnSpc>
              <a:buNone/>
            </a:pPr>
            <a:r>
              <a:rPr lang="en-US" b="1" dirty="0">
                <a:ea typeface="MS Mincho" panose="02020609040205080304" pitchFamily="49" charset="-128"/>
                <a:cs typeface="Times New Roman" panose="02020603050405020304" pitchFamily="18" charset="0"/>
              </a:rPr>
              <a:t>Connect-</a:t>
            </a:r>
            <a:r>
              <a:rPr lang="en-US" b="1" dirty="0" err="1">
                <a:ea typeface="MS Mincho" panose="02020609040205080304" pitchFamily="49" charset="-128"/>
                <a:cs typeface="Times New Roman" panose="02020603050405020304" pitchFamily="18" charset="0"/>
              </a:rPr>
              <a:t>SPOService</a:t>
            </a:r>
            <a:r>
              <a:rPr lang="en-US" b="1" dirty="0">
                <a:ea typeface="MS Mincho" panose="02020609040205080304" pitchFamily="49" charset="-128"/>
                <a:cs typeface="Times New Roman" panose="02020603050405020304" pitchFamily="18" charset="0"/>
              </a:rPr>
              <a:t> –URL https://mytenant-admin.sharepoint.com– Credential </a:t>
            </a:r>
            <a:r>
              <a:rPr lang="en-US" u="sng" dirty="0">
                <a:solidFill>
                  <a:srgbClr val="0563C1"/>
                </a:solidFill>
                <a:latin typeface="Consolas" panose="020B0609020204030204" pitchFamily="49" charset="0"/>
                <a:ea typeface="MS Mincho" panose="02020609040205080304" pitchFamily="49" charset="-128"/>
                <a:cs typeface="Times New Roman" panose="02020603050405020304" pitchFamily="18" charset="0"/>
                <a:hlinkClick r:id="rId3"/>
              </a:rPr>
              <a:t>admin@mytenant.onmicrosoft.com</a:t>
            </a:r>
            <a:r>
              <a:rPr lang="en-US" dirty="0">
                <a:latin typeface="Consolas" panose="020B0609020204030204" pitchFamily="49" charset="0"/>
                <a:ea typeface="MS Mincho" panose="02020609040205080304" pitchFamily="49" charset="-128"/>
                <a:cs typeface="Times New Roman" panose="02020603050405020304" pitchFamily="18" charset="0"/>
              </a:rPr>
              <a:t> </a:t>
            </a:r>
            <a:endParaRPr lang="en-US" dirty="0">
              <a:ea typeface="MS Mincho" panose="02020609040205080304" pitchFamily="49" charset="-128"/>
              <a:cs typeface="Times New Roman" panose="02020603050405020304" pitchFamily="18" charset="0"/>
            </a:endParaRPr>
          </a:p>
          <a:p>
            <a:pPr marL="185738" indent="-185738">
              <a:lnSpc>
                <a:spcPts val="1500"/>
              </a:lnSpc>
            </a:pPr>
            <a:r>
              <a:rPr lang="en-US" dirty="0">
                <a:ea typeface="MS Mincho" panose="02020609040205080304" pitchFamily="49" charset="-128"/>
                <a:cs typeface="Times New Roman" panose="02020603050405020304" pitchFamily="18" charset="0"/>
              </a:rPr>
              <a:t>To see what commands are available, you can use </a:t>
            </a:r>
            <a:r>
              <a:rPr lang="en-US" b="1" dirty="0">
                <a:ea typeface="MS Mincho" panose="02020609040205080304" pitchFamily="49" charset="-128"/>
                <a:cs typeface="Times New Roman" panose="02020603050405020304" pitchFamily="18" charset="0"/>
              </a:rPr>
              <a:t>Get-Command </a:t>
            </a:r>
            <a:r>
              <a:rPr lang="en-US" dirty="0">
                <a:ea typeface="MS Mincho" panose="02020609040205080304" pitchFamily="49" charset="-128"/>
                <a:cs typeface="Times New Roman" panose="02020603050405020304" pitchFamily="18" charset="0"/>
              </a:rPr>
              <a:t>and pass it the module Microsoft.Online.SharePoint.PowerShell.dll. For the full list, see the TechNet page: </a:t>
            </a:r>
            <a:r>
              <a:rPr lang="en-US" u="sng" dirty="0">
                <a:solidFill>
                  <a:srgbClr val="0563C1"/>
                </a:solidFill>
                <a:ea typeface="MS Mincho" panose="02020609040205080304" pitchFamily="49" charset="-128"/>
                <a:cs typeface="Times New Roman" panose="02020603050405020304" pitchFamily="18" charset="0"/>
                <a:hlinkClick r:id="rId4"/>
              </a:rPr>
              <a:t>http://technet.microsoft.com/en-us/library/fp161364(v=office.15).aspx</a:t>
            </a:r>
            <a:r>
              <a:rPr lang="en-US" dirty="0">
                <a:ea typeface="MS Mincho" panose="02020609040205080304" pitchFamily="49" charset="-128"/>
                <a:cs typeface="Times New Roman" panose="02020603050405020304" pitchFamily="18" charset="0"/>
              </a:rPr>
              <a:t>.</a:t>
            </a:r>
          </a:p>
          <a:p>
            <a:pPr marL="185738" indent="0">
              <a:lnSpc>
                <a:spcPts val="1500"/>
              </a:lnSpc>
              <a:buNone/>
            </a:pPr>
            <a:r>
              <a:rPr lang="en-US" b="1" dirty="0">
                <a:ea typeface="MS Mincho" panose="02020609040205080304" pitchFamily="49" charset="-128"/>
                <a:cs typeface="Times New Roman" panose="02020603050405020304" pitchFamily="18" charset="0"/>
              </a:rPr>
              <a:t>Get-Command –Module </a:t>
            </a:r>
            <a:r>
              <a:rPr lang="en-US" b="1" dirty="0" err="1">
                <a:ea typeface="MS Mincho" panose="02020609040205080304" pitchFamily="49" charset="-128"/>
                <a:cs typeface="Times New Roman" panose="02020603050405020304" pitchFamily="18" charset="0"/>
              </a:rPr>
              <a:t>Microsoft.Online.SharePoint.PowerShell</a:t>
            </a:r>
            <a:endParaRPr lang="en-US" b="1" dirty="0">
              <a:ea typeface="MS Mincho" panose="02020609040205080304" pitchFamily="49" charset="-128"/>
              <a:cs typeface="Times New Roman" panose="02020603050405020304" pitchFamily="18" charset="0"/>
            </a:endParaRPr>
          </a:p>
          <a:p>
            <a:pPr marL="185738" indent="-185738">
              <a:lnSpc>
                <a:spcPts val="1500"/>
              </a:lnSpc>
            </a:pPr>
            <a:r>
              <a:rPr lang="en-US" dirty="0">
                <a:ea typeface="MS Mincho" panose="02020609040205080304" pitchFamily="49" charset="-128"/>
                <a:cs typeface="Times New Roman" panose="02020603050405020304" pitchFamily="18" charset="0"/>
              </a:rPr>
              <a:t>Because </a:t>
            </a: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Site</a:t>
            </a:r>
            <a:r>
              <a:rPr lang="en-US" dirty="0">
                <a:ea typeface="MS Mincho" panose="02020609040205080304" pitchFamily="49" charset="-128"/>
                <a:cs typeface="Times New Roman" panose="02020603050405020304" pitchFamily="18" charset="0"/>
              </a:rPr>
              <a:t> uses Client-side Object Model (CSOM) under the hood and it does not request all values by default. To get this data, you need to add the –Detailed parameter.</a:t>
            </a:r>
          </a:p>
          <a:p>
            <a:pPr marL="185738" indent="0">
              <a:lnSpc>
                <a:spcPts val="1500"/>
              </a:lnSpc>
              <a:buNone/>
            </a:pP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Detailed | ft </a:t>
            </a:r>
            <a:r>
              <a:rPr lang="en-US" b="1" dirty="0" err="1">
                <a:ea typeface="MS Mincho" panose="02020609040205080304" pitchFamily="49" charset="-128"/>
                <a:cs typeface="Times New Roman" panose="02020603050405020304" pitchFamily="18" charset="0"/>
              </a:rPr>
              <a:t>Url</a:t>
            </a:r>
            <a:r>
              <a:rPr lang="en-US" b="1" dirty="0">
                <a:ea typeface="MS Mincho" panose="02020609040205080304" pitchFamily="49" charset="-128"/>
                <a:cs typeface="Times New Roman" panose="02020603050405020304" pitchFamily="18" charset="0"/>
              </a:rPr>
              <a:t>, </a:t>
            </a:r>
            <a:r>
              <a:rPr lang="en-US" b="1" dirty="0" err="1">
                <a:ea typeface="MS Mincho" panose="02020609040205080304" pitchFamily="49" charset="-128"/>
                <a:cs typeface="Times New Roman" panose="02020603050405020304" pitchFamily="18" charset="0"/>
              </a:rPr>
              <a:t>CompatibilityLevel</a:t>
            </a:r>
            <a:endParaRPr lang="en-US" b="1" dirty="0">
              <a:ea typeface="MS Mincho" panose="02020609040205080304" pitchFamily="49" charset="-128"/>
              <a:cs typeface="Times New Roman" panose="02020603050405020304" pitchFamily="18" charset="0"/>
            </a:endParaRPr>
          </a:p>
          <a:p>
            <a:pPr marL="185738" indent="0">
              <a:lnSpc>
                <a:spcPts val="1500"/>
              </a:lnSpc>
              <a:buNone/>
            </a:pPr>
            <a:r>
              <a:rPr lang="en-US" b="1" dirty="0">
                <a:ea typeface="MS Mincho" panose="02020609040205080304" pitchFamily="49" charset="-128"/>
                <a:cs typeface="Times New Roman" panose="02020603050405020304" pitchFamily="18" charset="0"/>
              </a:rPr>
              <a:t>Get-</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Filter {</a:t>
            </a:r>
            <a:r>
              <a:rPr lang="en-US" b="1" dirty="0" err="1">
                <a:ea typeface="MS Mincho" panose="02020609040205080304" pitchFamily="49" charset="-128"/>
                <a:cs typeface="Times New Roman" panose="02020603050405020304" pitchFamily="18" charset="0"/>
              </a:rPr>
              <a:t>Url</a:t>
            </a:r>
            <a:r>
              <a:rPr lang="en-US" b="1" dirty="0">
                <a:ea typeface="MS Mincho" panose="02020609040205080304" pitchFamily="49" charset="-128"/>
                <a:cs typeface="Times New Roman" panose="02020603050405020304" pitchFamily="18" charset="0"/>
              </a:rPr>
              <a:t> -like “*term*”} | Ft </a:t>
            </a:r>
            <a:r>
              <a:rPr lang="en-US" b="1" dirty="0" err="1">
                <a:ea typeface="MS Mincho" panose="02020609040205080304" pitchFamily="49" charset="-128"/>
                <a:cs typeface="Times New Roman" panose="02020603050405020304" pitchFamily="18" charset="0"/>
              </a:rPr>
              <a:t>Url</a:t>
            </a:r>
            <a:endParaRPr lang="en-US" b="1" dirty="0">
              <a:ea typeface="MS Mincho" panose="02020609040205080304" pitchFamily="49" charset="-128"/>
              <a:cs typeface="Times New Roman" panose="02020603050405020304" pitchFamily="18" charset="0"/>
            </a:endParaRPr>
          </a:p>
          <a:p>
            <a:pPr marL="185738" indent="-185738">
              <a:lnSpc>
                <a:spcPts val="1500"/>
              </a:lnSpc>
            </a:pPr>
            <a:r>
              <a:rPr lang="en-US" dirty="0">
                <a:ea typeface="MS Mincho" panose="02020609040205080304" pitchFamily="49" charset="-128"/>
                <a:cs typeface="Times New Roman" panose="02020603050405020304" pitchFamily="18" charset="0"/>
              </a:rPr>
              <a:t>To delete a site collection, use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TechNet page: </a:t>
            </a:r>
            <a:r>
              <a:rPr lang="en-US" u="sng" dirty="0">
                <a:solidFill>
                  <a:srgbClr val="0563C1"/>
                </a:solidFill>
                <a:ea typeface="MS Mincho" panose="02020609040205080304" pitchFamily="49" charset="-128"/>
                <a:cs typeface="Times New Roman" panose="02020603050405020304" pitchFamily="18" charset="0"/>
                <a:hlinkClick r:id="rId5"/>
              </a:rPr>
              <a:t>http://technet.microsoft.com/en-us/library/fp161377(v=office.15).aspx</a:t>
            </a:r>
            <a:r>
              <a:rPr lang="en-US" dirty="0">
                <a:ea typeface="MS Mincho" panose="02020609040205080304" pitchFamily="49" charset="-128"/>
                <a:cs typeface="Times New Roman" panose="02020603050405020304" pitchFamily="18" charset="0"/>
              </a:rPr>
              <a:t>) and pass it the URL in the Identity parameter. It can also optionally take the –</a:t>
            </a:r>
            <a:r>
              <a:rPr lang="en-US" dirty="0" err="1">
                <a:ea typeface="MS Mincho" panose="02020609040205080304" pitchFamily="49" charset="-128"/>
                <a:cs typeface="Times New Roman" panose="02020603050405020304" pitchFamily="18" charset="0"/>
              </a:rPr>
              <a:t>NoWait</a:t>
            </a:r>
            <a:r>
              <a:rPr lang="en-US" dirty="0">
                <a:ea typeface="MS Mincho" panose="02020609040205080304" pitchFamily="49" charset="-128"/>
                <a:cs typeface="Times New Roman" panose="02020603050405020304" pitchFamily="18" charset="0"/>
              </a:rPr>
              <a:t> parameter as well.</a:t>
            </a:r>
          </a:p>
          <a:p>
            <a:pPr marL="185738" indent="0">
              <a:lnSpc>
                <a:spcPts val="1500"/>
              </a:lnSpc>
              <a:buNone/>
            </a:pP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 –Identity </a:t>
            </a:r>
            <a:r>
              <a:rPr lang="en-US" dirty="0">
                <a:ea typeface="MS Mincho" panose="02020609040205080304" pitchFamily="49" charset="-128"/>
                <a:cs typeface="Times New Roman" panose="02020603050405020304" pitchFamily="18" charset="0"/>
              </a:rPr>
              <a:t>https://mytenant.sharepoint.com/sites/sitename –</a:t>
            </a:r>
            <a:r>
              <a:rPr lang="en-US" dirty="0" err="1">
                <a:ea typeface="MS Mincho" panose="02020609040205080304" pitchFamily="49" charset="-128"/>
                <a:cs typeface="Times New Roman" panose="02020603050405020304" pitchFamily="18" charset="0"/>
              </a:rPr>
              <a:t>NoWait</a:t>
            </a:r>
            <a:r>
              <a:rPr lang="en-US" dirty="0">
                <a:ea typeface="MS Mincho" panose="02020609040205080304" pitchFamily="49" charset="-128"/>
                <a:cs typeface="Times New Roman" panose="02020603050405020304" pitchFamily="18" charset="0"/>
              </a:rPr>
              <a:t> </a:t>
            </a:r>
          </a:p>
          <a:p>
            <a:pPr marL="185738" indent="-185738">
              <a:lnSpc>
                <a:spcPts val="1500"/>
              </a:lnSpc>
            </a:pPr>
            <a:r>
              <a:rPr lang="en-US" dirty="0">
                <a:ea typeface="MS Mincho" panose="02020609040205080304" pitchFamily="49" charset="-128"/>
                <a:cs typeface="Times New Roman" panose="02020603050405020304" pitchFamily="18" charset="0"/>
              </a:rPr>
              <a:t>Deleted site collections get moved to the site collection recycle bin. To restore a site collection that you have deleted, use </a:t>
            </a:r>
            <a:r>
              <a:rPr lang="en-US" b="1" dirty="0">
                <a:ea typeface="MS Mincho" panose="02020609040205080304" pitchFamily="49" charset="-128"/>
                <a:cs typeface="Times New Roman" panose="02020603050405020304" pitchFamily="18" charset="0"/>
              </a:rPr>
              <a:t>Restore-</a:t>
            </a:r>
            <a:r>
              <a:rPr lang="en-US" b="1" dirty="0" err="1">
                <a:ea typeface="MS Mincho" panose="02020609040205080304" pitchFamily="49" charset="-128"/>
                <a:cs typeface="Times New Roman" panose="02020603050405020304" pitchFamily="18" charset="0"/>
              </a:rPr>
              <a:t>SPODeletedSite</a:t>
            </a:r>
            <a:r>
              <a:rPr lang="en-US" dirty="0">
                <a:ea typeface="MS Mincho" panose="02020609040205080304" pitchFamily="49" charset="-128"/>
                <a:cs typeface="Times New Roman" panose="02020603050405020304" pitchFamily="18" charset="0"/>
              </a:rPr>
              <a:t> (TechNet page: </a:t>
            </a:r>
            <a:r>
              <a:rPr lang="en-US" dirty="0">
                <a:ea typeface="MS Mincho" panose="02020609040205080304" pitchFamily="49" charset="-128"/>
                <a:cs typeface="Times New Roman" panose="02020603050405020304" pitchFamily="18" charset="0"/>
                <a:hlinkClick r:id="rId6"/>
              </a:rPr>
              <a:t>http://technet.microsoft.com/en-us/library/fp161400(v=office.15).aspx</a:t>
            </a:r>
            <a:r>
              <a:rPr lang="en-US" dirty="0">
                <a:ea typeface="MS Mincho" panose="02020609040205080304" pitchFamily="49" charset="-128"/>
                <a:cs typeface="Times New Roman" panose="02020603050405020304" pitchFamily="18" charset="0"/>
              </a:rPr>
              <a:t>). It takes the same parameters as </a:t>
            </a:r>
            <a:r>
              <a:rPr lang="en-US" b="1" dirty="0">
                <a:ea typeface="MS Mincho" panose="02020609040205080304" pitchFamily="49" charset="-128"/>
                <a:cs typeface="Times New Roman" panose="02020603050405020304" pitchFamily="18" charset="0"/>
              </a:rPr>
              <a:t>Remove-</a:t>
            </a:r>
            <a:r>
              <a:rPr lang="en-US" b="1" dirty="0" err="1">
                <a:ea typeface="MS Mincho" panose="02020609040205080304" pitchFamily="49" charset="-128"/>
                <a:cs typeface="Times New Roman" panose="02020603050405020304" pitchFamily="18" charset="0"/>
              </a:rPr>
              <a:t>SPOSite</a:t>
            </a:r>
            <a:r>
              <a:rPr lang="en-US" b="1" dirty="0">
                <a:ea typeface="MS Mincho" panose="02020609040205080304" pitchFamily="49" charset="-128"/>
                <a:cs typeface="Times New Roman" panose="02020603050405020304" pitchFamily="18" charset="0"/>
              </a:rPr>
              <a:t>.</a:t>
            </a:r>
          </a:p>
          <a:p>
            <a:pPr marL="185738" indent="0">
              <a:buNone/>
            </a:pPr>
            <a:r>
              <a:rPr lang="en-US" b="1" dirty="0">
                <a:ea typeface="MS Mincho" panose="02020609040205080304" pitchFamily="49" charset="-128"/>
                <a:cs typeface="Times New Roman" panose="02020603050405020304" pitchFamily="18" charset="0"/>
              </a:rPr>
              <a:t>Restore-</a:t>
            </a:r>
            <a:r>
              <a:rPr lang="en-US" b="1" dirty="0" err="1">
                <a:ea typeface="MS Mincho" panose="02020609040205080304" pitchFamily="49" charset="-128"/>
                <a:cs typeface="Times New Roman" panose="02020603050405020304" pitchFamily="18" charset="0"/>
              </a:rPr>
              <a:t>SPODeletedSite</a:t>
            </a:r>
            <a:r>
              <a:rPr lang="en-US" b="1" dirty="0">
                <a:ea typeface="MS Mincho" panose="02020609040205080304" pitchFamily="49" charset="-128"/>
                <a:cs typeface="Times New Roman" panose="02020603050405020304" pitchFamily="18" charset="0"/>
              </a:rPr>
              <a:t> –Identity</a:t>
            </a:r>
            <a:r>
              <a:rPr lang="en-US" dirty="0">
                <a:ea typeface="MS Mincho" panose="02020609040205080304" pitchFamily="49" charset="-128"/>
                <a:cs typeface="Times New Roman" panose="02020603050405020304" pitchFamily="18" charset="0"/>
              </a:rPr>
              <a:t> https://mytenant.sharepoint.com/sites/sitename –</a:t>
            </a:r>
            <a:r>
              <a:rPr lang="en-US" dirty="0" err="1">
                <a:ea typeface="MS Mincho" panose="02020609040205080304" pitchFamily="49" charset="-128"/>
                <a:cs typeface="Times New Roman" panose="02020603050405020304" pitchFamily="18" charset="0"/>
              </a:rPr>
              <a:t>NoWait</a:t>
            </a:r>
            <a:endParaRPr lang="en-US" dirty="0">
              <a:ea typeface="MS Mincho" panose="02020609040205080304" pitchFamily="49" charset="-128"/>
              <a:cs typeface="Times New Roman" panose="02020603050405020304" pitchFamily="18" charset="0"/>
            </a:endParaRPr>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7137688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44876977"/>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995290567"/>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501692418"/>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19547951"/>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05063204"/>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Introduction</a:t>
            </a:r>
            <a:endParaRPr lang="en-US" dirty="0"/>
          </a:p>
          <a:p>
            <a:r>
              <a:rPr lang="en-US" dirty="0"/>
              <a:t>In this lab, you will utilize the SharePoint Online Management Shell to manage and configure key objects within a SharePoint Online environment. You will also use the SharePoint Online Management Shell to automate common SharePoint Online administrative tasks, such as creating site collections in bulk and pulling site collection version information.</a:t>
            </a:r>
          </a:p>
          <a:p>
            <a:pPr marL="0" indent="0">
              <a:buNone/>
            </a:pPr>
            <a:endParaRPr lang="en-US" b="1" dirty="0"/>
          </a:p>
          <a:p>
            <a:pPr marL="0" indent="0">
              <a:buNone/>
            </a:pPr>
            <a:r>
              <a:rPr lang="en-US" b="1" dirty="0"/>
              <a:t>Objectives </a:t>
            </a:r>
            <a:endParaRPr lang="en-US" dirty="0"/>
          </a:p>
          <a:p>
            <a:pPr marL="0" indent="0">
              <a:buNone/>
            </a:pPr>
            <a:r>
              <a:rPr lang="en-US" dirty="0"/>
              <a:t>After completing this lab, you will be able to: </a:t>
            </a:r>
          </a:p>
          <a:p>
            <a:r>
              <a:rPr lang="en-US" dirty="0"/>
              <a:t>Connect the SharePoint Online Management Shell to an Microsoft 365 SharePoint Online tenant.</a:t>
            </a:r>
          </a:p>
          <a:p>
            <a:r>
              <a:rPr lang="en-US" dirty="0"/>
              <a:t>Use the SharePoint Online Management Shell to perform various SharePoint Online configuration and management functions.</a:t>
            </a:r>
          </a:p>
          <a:p>
            <a:pPr marL="0" indent="0">
              <a:buNone/>
            </a:pPr>
            <a:endParaRPr lang="en-US" b="1" dirty="0"/>
          </a:p>
          <a:p>
            <a:pPr marL="0" indent="0">
              <a:buNone/>
            </a:pPr>
            <a:r>
              <a:rPr lang="en-US" b="1" dirty="0"/>
              <a:t>Prerequisites </a:t>
            </a:r>
            <a:endParaRPr lang="en-US" dirty="0"/>
          </a:p>
          <a:p>
            <a:r>
              <a:rPr lang="en-US" dirty="0"/>
              <a:t>This lab requires that students have their own Wave 15 Microsoft 365 trial tenant. If you do not already have a Wave 15 Microsoft 365 trial tenant, you can obtain one by going to the following web page and following the instructions on the page: </a:t>
            </a:r>
            <a:r>
              <a:rPr lang="en-US" u="sng" dirty="0">
                <a:hlinkClick r:id="rId3"/>
              </a:rPr>
              <a:t>https://portal.microsoftonline.com/Signup/MainSignup15.aspx?OfferId=D214930B-46C2-4FD2-B7F9-EC134993F34A&amp;dl=ENTERPRISEPACK_B_PILOT&amp;pc=O365-Preview-2012&amp;ali=1</a:t>
            </a:r>
            <a:endParaRPr lang="en-US" dirty="0"/>
          </a:p>
          <a:p>
            <a:pPr marL="0" indent="0">
              <a:buNone/>
            </a:pPr>
            <a:endParaRPr lang="en-US" b="1" dirty="0"/>
          </a:p>
          <a:p>
            <a:pPr marL="0" indent="0">
              <a:buNone/>
            </a:pPr>
            <a:r>
              <a:rPr lang="en-US" b="1" dirty="0"/>
              <a:t>Estimated Time to Complete This Lab </a:t>
            </a:r>
            <a:endParaRPr lang="en-US" dirty="0"/>
          </a:p>
          <a:p>
            <a:r>
              <a:rPr lang="en-US" dirty="0"/>
              <a:t>45 minutes</a:t>
            </a:r>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905611873"/>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893149192"/>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863106255"/>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799398033"/>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pPr marL="0" indent="0">
              <a:buNone/>
            </a:pPr>
            <a:r>
              <a:rPr lang="en-US" dirty="0"/>
              <a:t>http://www.microsoft.com/en-us/download/details.aspx?id=35588</a:t>
            </a:r>
          </a:p>
          <a:p>
            <a:pPr marL="0" indent="0">
              <a:buNone/>
            </a:pPr>
            <a:endParaRPr lang="en-US" dirty="0"/>
          </a:p>
          <a:p>
            <a:pPr marL="0" indent="0">
              <a:buNone/>
            </a:pPr>
            <a:r>
              <a:rPr lang="en-US" dirty="0"/>
              <a:t>System Requirements </a:t>
            </a:r>
          </a:p>
          <a:p>
            <a:pPr fontAlgn="base"/>
            <a:r>
              <a:rPr lang="en-US" sz="1050" b="0" i="0" u="none" strike="noStrike" kern="1200" noProof="0" dirty="0">
                <a:solidFill>
                  <a:schemeClr val="tx1"/>
                </a:solidFill>
                <a:effectLst/>
                <a:latin typeface="Segoe UI" pitchFamily="34" charset="0"/>
                <a:ea typeface="+mn-ea"/>
                <a:cs typeface="Segoe UI" pitchFamily="34" charset="0"/>
              </a:rPr>
              <a:t>Windows 10 , Windows 7 Service Pack 1, Windows 8, Windows Server 2008 R2 SP1, Windows Server 2008 Service Pack 2, Windows Server 2012, Windows Server 2016 </a:t>
            </a:r>
          </a:p>
          <a:p>
            <a:pPr fontAlgn="base"/>
            <a:r>
              <a:rPr lang="en-US" sz="1050" b="0" i="0" u="none" strike="noStrike" kern="1200" noProof="0" dirty="0">
                <a:solidFill>
                  <a:schemeClr val="tx1"/>
                </a:solidFill>
                <a:effectLst/>
                <a:latin typeface="Segoe UI" pitchFamily="34" charset="0"/>
                <a:ea typeface="+mn-ea"/>
                <a:cs typeface="Segoe UI" pitchFamily="34" charset="0"/>
              </a:rPr>
              <a:t>PowerShell 3.0</a:t>
            </a:r>
          </a:p>
          <a:p>
            <a:pPr marL="0" indent="0">
              <a:buNone/>
            </a:pPr>
            <a:endParaRPr lang="en-US" dirty="0"/>
          </a:p>
          <a:p>
            <a:r>
              <a:rPr lang="en-US" sz="1100" dirty="0"/>
              <a:t>The SharePoint Online Management Shell can also be installed using </a:t>
            </a:r>
            <a:r>
              <a:rPr lang="en-US" sz="1100" dirty="0" err="1"/>
              <a:t>PSGet</a:t>
            </a:r>
            <a:endParaRPr lang="en-US" sz="1100" dirty="0"/>
          </a:p>
          <a:p>
            <a:r>
              <a:rPr lang="en-US" sz="1100" dirty="0"/>
              <a:t> </a:t>
            </a:r>
          </a:p>
          <a:p>
            <a:r>
              <a:rPr lang="en-US" sz="1050" b="1" dirty="0"/>
              <a:t>Install-Module -Name </a:t>
            </a:r>
            <a:r>
              <a:rPr lang="en-US" sz="1050" b="1" dirty="0" err="1"/>
              <a:t>Microsoft.Online.SharePoint.PowerShell</a:t>
            </a:r>
            <a:endParaRPr lang="en-US" sz="1050" b="1" dirty="0"/>
          </a:p>
          <a:p>
            <a:endParaRPr lang="en-US" sz="1050" dirty="0"/>
          </a:p>
          <a:p>
            <a:r>
              <a:rPr lang="en-US" sz="1050" dirty="0"/>
              <a:t>See </a:t>
            </a:r>
            <a:r>
              <a:rPr lang="en-US" sz="1050" dirty="0">
                <a:hlinkClick r:id="rId3"/>
              </a:rPr>
              <a:t>https://docs.microsoft.com/en-us/powershell/sharepoint/sharepoint-online/connect-sharepoint-online?view=sharepoint-ps</a:t>
            </a:r>
            <a:endParaRPr lang="en-US" sz="1050" dirty="0"/>
          </a:p>
          <a:p>
            <a:pPr marL="0" indent="0">
              <a:buNone/>
            </a:pPr>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87085804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r>
              <a:rPr lang="en-US" sz="1050" b="0" i="0" u="none" strike="noStrike" kern="1200" noProof="0" dirty="0">
                <a:solidFill>
                  <a:schemeClr val="tx1"/>
                </a:solidFill>
                <a:effectLst/>
                <a:latin typeface="Segoe UI" pitchFamily="34" charset="0"/>
                <a:ea typeface="+mn-ea"/>
                <a:cs typeface="Segoe UI" pitchFamily="34" charset="0"/>
              </a:rPr>
              <a:t>The Disconnect-</a:t>
            </a:r>
            <a:r>
              <a:rPr lang="en-US" sz="1050" b="0" i="0" u="none" strike="noStrike" kern="1200" noProof="0" dirty="0" err="1">
                <a:solidFill>
                  <a:schemeClr val="tx1"/>
                </a:solidFill>
                <a:effectLst/>
                <a:latin typeface="Segoe UI" pitchFamily="34" charset="0"/>
                <a:ea typeface="+mn-ea"/>
                <a:cs typeface="Segoe UI" pitchFamily="34" charset="0"/>
              </a:rPr>
              <a:t>SPOService</a:t>
            </a:r>
            <a:r>
              <a:rPr lang="en-US" sz="1050" b="0" i="0" u="none" strike="noStrike" kern="1200" noProof="0" dirty="0">
                <a:solidFill>
                  <a:schemeClr val="tx1"/>
                </a:solidFill>
                <a:effectLst/>
                <a:latin typeface="Segoe UI" pitchFamily="34" charset="0"/>
                <a:ea typeface="+mn-ea"/>
                <a:cs typeface="Segoe UI" pitchFamily="34" charset="0"/>
              </a:rPr>
              <a:t> cmdlet explicitly disconnects a previously created SharePoint Online service connection.</a:t>
            </a:r>
          </a:p>
          <a:p>
            <a:endParaRPr lang="en-US" sz="1050" b="0" i="0" u="none" strike="noStrike" kern="1200" noProof="0" dirty="0">
              <a:solidFill>
                <a:schemeClr val="tx1"/>
              </a:solidFill>
              <a:effectLst/>
              <a:latin typeface="Segoe UI" pitchFamily="34" charset="0"/>
              <a:ea typeface="+mn-ea"/>
              <a:cs typeface="Segoe UI" pitchFamily="34" charset="0"/>
            </a:endParaRPr>
          </a:p>
          <a:p>
            <a:r>
              <a:rPr lang="en-US" sz="1050" b="0" i="0" u="none" strike="noStrike" kern="1200" noProof="0" dirty="0">
                <a:solidFill>
                  <a:schemeClr val="tx1"/>
                </a:solidFill>
                <a:effectLst/>
                <a:latin typeface="Segoe UI" pitchFamily="34" charset="0"/>
                <a:ea typeface="+mn-ea"/>
                <a:cs typeface="Segoe UI" pitchFamily="34" charset="0"/>
              </a:rPr>
              <a:t>Global administrators can disconnect the service by running the Disconnect-</a:t>
            </a:r>
            <a:r>
              <a:rPr lang="en-US" sz="1050" b="0" i="0" u="none" strike="noStrike" kern="1200" noProof="0" dirty="0" err="1">
                <a:solidFill>
                  <a:schemeClr val="tx1"/>
                </a:solidFill>
                <a:effectLst/>
                <a:latin typeface="Segoe UI" pitchFamily="34" charset="0"/>
                <a:ea typeface="+mn-ea"/>
                <a:cs typeface="Segoe UI" pitchFamily="34" charset="0"/>
              </a:rPr>
              <a:t>SPOService</a:t>
            </a:r>
            <a:r>
              <a:rPr lang="en-US" sz="1050" b="0" i="0" u="none" strike="noStrike" kern="1200" noProof="0" dirty="0">
                <a:solidFill>
                  <a:schemeClr val="tx1"/>
                </a:solidFill>
                <a:effectLst/>
                <a:latin typeface="Segoe UI" pitchFamily="34" charset="0"/>
                <a:ea typeface="+mn-ea"/>
                <a:cs typeface="Segoe UI" pitchFamily="34" charset="0"/>
              </a:rPr>
              <a:t> cmdlet or by running the Connect-</a:t>
            </a:r>
            <a:r>
              <a:rPr lang="en-US" sz="1050" b="0" i="0" u="none" strike="noStrike" kern="1200" noProof="0" dirty="0" err="1">
                <a:solidFill>
                  <a:schemeClr val="tx1"/>
                </a:solidFill>
                <a:effectLst/>
                <a:latin typeface="Segoe UI" pitchFamily="34" charset="0"/>
                <a:ea typeface="+mn-ea"/>
                <a:cs typeface="Segoe UI" pitchFamily="34" charset="0"/>
              </a:rPr>
              <a:t>SPOService</a:t>
            </a:r>
            <a:r>
              <a:rPr lang="en-US" sz="1050" b="0" i="0" u="none" strike="noStrike" kern="1200" noProof="0" dirty="0">
                <a:solidFill>
                  <a:schemeClr val="tx1"/>
                </a:solidFill>
                <a:effectLst/>
                <a:latin typeface="Segoe UI" pitchFamily="34" charset="0"/>
                <a:ea typeface="+mn-ea"/>
                <a:cs typeface="Segoe UI" pitchFamily="34" charset="0"/>
              </a:rPr>
              <a:t> cmdlet to initiate another connection. For more information, see Connect-</a:t>
            </a:r>
            <a:r>
              <a:rPr lang="en-US" sz="1050" b="0" i="0" u="none" strike="noStrike" kern="1200" noProof="0" dirty="0" err="1">
                <a:solidFill>
                  <a:schemeClr val="tx1"/>
                </a:solidFill>
                <a:effectLst/>
                <a:latin typeface="Segoe UI" pitchFamily="34" charset="0"/>
                <a:ea typeface="+mn-ea"/>
                <a:cs typeface="Segoe UI" pitchFamily="34" charset="0"/>
              </a:rPr>
              <a:t>SPOService</a:t>
            </a:r>
            <a:r>
              <a:rPr lang="en-US" sz="1050" b="0" i="0" u="none" strike="noStrike" kern="1200" noProof="0" dirty="0">
                <a:solidFill>
                  <a:schemeClr val="tx1"/>
                </a:solidFill>
                <a:effectLst/>
                <a:latin typeface="Segoe UI" pitchFamily="34" charset="0"/>
                <a:ea typeface="+mn-ea"/>
                <a:cs typeface="Segoe UI" pitchFamily="34" charset="0"/>
              </a:rPr>
              <a:t>.</a:t>
            </a:r>
          </a:p>
          <a:p>
            <a:endParaRPr lang="en-US" sz="1050" b="0" i="0" u="none" strike="noStrike" kern="1200" noProof="0" dirty="0">
              <a:solidFill>
                <a:schemeClr val="tx1"/>
              </a:solidFill>
              <a:effectLst/>
              <a:latin typeface="Segoe UI" pitchFamily="34" charset="0"/>
              <a:ea typeface="+mn-ea"/>
              <a:cs typeface="Segoe UI" pitchFamily="34" charset="0"/>
            </a:endParaRPr>
          </a:p>
          <a:p>
            <a:r>
              <a:rPr lang="en-US" sz="1050" b="0" i="0" u="none" strike="noStrike" kern="1200" noProof="0" dirty="0">
                <a:solidFill>
                  <a:schemeClr val="tx1"/>
                </a:solidFill>
                <a:effectLst/>
                <a:latin typeface="Segoe UI" pitchFamily="34" charset="0"/>
                <a:ea typeface="+mn-ea"/>
                <a:cs typeface="Segoe UI" pitchFamily="34" charset="0"/>
              </a:rPr>
              <a:t>Even after a connection is terminated, operations that were started before the connection is terminated will run to completion. In other words, long-running operations will not be terminated by running the Disconnect-</a:t>
            </a:r>
            <a:r>
              <a:rPr lang="en-US" sz="1050" b="0" i="0" u="none" strike="noStrike" kern="1200" noProof="0" dirty="0" err="1">
                <a:solidFill>
                  <a:schemeClr val="tx1"/>
                </a:solidFill>
                <a:effectLst/>
                <a:latin typeface="Segoe UI" pitchFamily="34" charset="0"/>
                <a:ea typeface="+mn-ea"/>
                <a:cs typeface="Segoe UI" pitchFamily="34" charset="0"/>
              </a:rPr>
              <a:t>SPOService</a:t>
            </a:r>
            <a:r>
              <a:rPr lang="en-US" sz="1050" b="0" i="0" u="none" strike="noStrike" kern="1200" noProof="0" dirty="0">
                <a:solidFill>
                  <a:schemeClr val="tx1"/>
                </a:solidFill>
                <a:effectLst/>
                <a:latin typeface="Segoe UI" pitchFamily="34" charset="0"/>
                <a:ea typeface="+mn-ea"/>
                <a:cs typeface="Segoe UI" pitchFamily="34" charset="0"/>
              </a:rPr>
              <a:t> cmdlet</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75468107"/>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r>
              <a:rPr lang="en-US" dirty="0"/>
              <a:t>There</a:t>
            </a:r>
            <a:r>
              <a:rPr lang="en-US" baseline="0" dirty="0"/>
              <a:t> are more commands than what you can see from this view </a:t>
            </a:r>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558005981"/>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34797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E50C0D35-EDC6-4B18-9A43-84900A825F73}"/>
              </a:ext>
            </a:extLst>
          </p:cNvPr>
          <p:cNvSpPr>
            <a:spLocks noGrp="1"/>
          </p:cNvSpPr>
          <p:nvPr>
            <p:ph type="dgm" sz="quarter" idx="10"/>
          </p:nvPr>
        </p:nvSpPr>
        <p:spPr>
          <a:xfrm>
            <a:off x="655638" y="1028700"/>
            <a:ext cx="10880725" cy="5315204"/>
          </a:xfrm>
        </p:spPr>
        <p:txBody>
          <a:bodyPr/>
          <a:lstStyle/>
          <a:p>
            <a:endParaRPr lang="en-US" dirty="0"/>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sp>
        <p:nvSpPr>
          <p:cNvPr id="12" name="Rectangle 11">
            <a:extLst>
              <a:ext uri="{FF2B5EF4-FFF2-40B4-BE49-F238E27FC236}">
                <a16:creationId xmlns:a16="http://schemas.microsoft.com/office/drawing/2014/main" id="{929B45C8-64ED-481B-A3BA-5072BD42AE45}"/>
              </a:ext>
            </a:extLst>
          </p:cNvPr>
          <p:cNvSpPr/>
          <p:nvPr userDrawn="1"/>
        </p:nvSpPr>
        <p:spPr bwMode="auto">
          <a:xfrm>
            <a:off x="5334000" y="0"/>
            <a:ext cx="6858000"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 name="Lab" descr="A close up of a sign&#10;">
            <a:extLst>
              <a:ext uri="{FF2B5EF4-FFF2-40B4-BE49-F238E27FC236}">
                <a16:creationId xmlns:a16="http://schemas.microsoft.com/office/drawing/2014/main" id="{89FD0252-3EBF-4574-B973-602259684AF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01" r:id="rId18"/>
    <p:sldLayoutId id="2147484002" r:id="rId19"/>
    <p:sldLayoutId id="2147484003" r:id="rId20"/>
    <p:sldLayoutId id="2147484005" r:id="rId21"/>
    <p:sldLayoutId id="2147484008" r:id="rId22"/>
    <p:sldLayoutId id="2147484009"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5" r:id="rId38"/>
    <p:sldLayoutId id="2147484027" r:id="rId39"/>
    <p:sldLayoutId id="2147484028" r:id="rId40"/>
    <p:sldLayoutId id="2147484029" r:id="rId41"/>
    <p:sldLayoutId id="2147484030" r:id="rId42"/>
    <p:sldLayoutId id="2147484031" r:id="rId43"/>
    <p:sldLayoutId id="2147484032" r:id="rId44"/>
    <p:sldLayoutId id="2147484033" r:id="rId45"/>
    <p:sldLayoutId id="2147483994" r:id="rId46"/>
    <p:sldLayoutId id="2147483995" r:id="rId47"/>
    <p:sldLayoutId id="2147483996" r:id="rId48"/>
    <p:sldLayoutId id="2147483997" r:id="rId49"/>
    <p:sldLayoutId id="2147484034"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hyperlink" Target="https://docs.microsoft.com/en-us/powershell/sharepoint/sharepoint-online/connect-sharepoint-online?view=sharepoint-ps" TargetMode="Externa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How to use SharePoint Online Management Shell</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p>
        </p:txBody>
      </p:sp>
      <p:sp>
        <p:nvSpPr>
          <p:cNvPr id="7" name="Picture Placeholder 6">
            <a:extLst>
              <a:ext uri="{FF2B5EF4-FFF2-40B4-BE49-F238E27FC236}">
                <a16:creationId xmlns:a16="http://schemas.microsoft.com/office/drawing/2014/main" id="{7A58ABD2-F685-41C5-B1DC-BCC85EEC6B5D}"/>
              </a:ext>
            </a:extLst>
          </p:cNvPr>
          <p:cNvSpPr>
            <a:spLocks noGrp="1"/>
          </p:cNvSpPr>
          <p:nvPr>
            <p:ph type="pic" sz="quarter" idx="17"/>
          </p:nvPr>
        </p:nvSpPr>
        <p:spPr/>
      </p:sp>
    </p:spTree>
    <p:extLst>
      <p:ext uri="{BB962C8B-B14F-4D97-AF65-F5344CB8AC3E}">
        <p14:creationId xmlns:p14="http://schemas.microsoft.com/office/powerpoint/2010/main" val="1242686501"/>
      </p:ext>
    </p:extLst>
  </p:cSld>
  <p:clrMapOvr>
    <a:masterClrMapping/>
  </p:clrMapOvr>
  <p:transition>
    <p:fade/>
  </p:transition>
</p:sld>
</file>

<file path=ppt/slides/slide10.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914870121"/>
              </p:ext>
            </p:extLst>
          </p:nvPr>
        </p:nvGraphicFramePr>
        <p:xfrm>
          <a:off x="655638" y="1185113"/>
          <a:ext cx="10880725" cy="37361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External User Management</a:t>
            </a:r>
          </a:p>
        </p:txBody>
      </p:sp>
    </p:spTree>
    <p:extLst>
      <p:ext uri="{BB962C8B-B14F-4D97-AF65-F5344CB8AC3E}">
        <p14:creationId xmlns:p14="http://schemas.microsoft.com/office/powerpoint/2010/main" val="455364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2A3D5595-D75C-4E29-8D5E-095E65824C9B}"/>
                                            </p:graphicEl>
                                          </p:spTgt>
                                        </p:tgtEl>
                                        <p:attrNameLst>
                                          <p:attrName>style.visibility</p:attrName>
                                        </p:attrNameLst>
                                      </p:cBhvr>
                                      <p:to>
                                        <p:strVal val="visible"/>
                                      </p:to>
                                    </p:set>
                                    <p:anim calcmode="lin" valueType="num">
                                      <p:cBhvr additive="base">
                                        <p:cTn id="7" dur="500" fill="hold"/>
                                        <p:tgtEl>
                                          <p:spTgt spid="3">
                                            <p:graphicEl>
                                              <a:dgm id="{2A3D5595-D75C-4E29-8D5E-095E65824C9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2A3D5595-D75C-4E29-8D5E-095E65824C9B}"/>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D9C14CAA-3631-43D5-89FA-0358F090EF0A}"/>
                                            </p:graphicEl>
                                          </p:spTgt>
                                        </p:tgtEl>
                                        <p:attrNameLst>
                                          <p:attrName>style.visibility</p:attrName>
                                        </p:attrNameLst>
                                      </p:cBhvr>
                                      <p:to>
                                        <p:strVal val="visible"/>
                                      </p:to>
                                    </p:set>
                                    <p:anim calcmode="lin" valueType="num">
                                      <p:cBhvr additive="base">
                                        <p:cTn id="11" dur="500" fill="hold"/>
                                        <p:tgtEl>
                                          <p:spTgt spid="3">
                                            <p:graphicEl>
                                              <a:dgm id="{D9C14CAA-3631-43D5-89FA-0358F090EF0A}"/>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D9C14CAA-3631-43D5-89FA-0358F090EF0A}"/>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AC9C0D66-4476-453B-B138-23DEF2BEDF8E}"/>
                                            </p:graphicEl>
                                          </p:spTgt>
                                        </p:tgtEl>
                                        <p:attrNameLst>
                                          <p:attrName>style.visibility</p:attrName>
                                        </p:attrNameLst>
                                      </p:cBhvr>
                                      <p:to>
                                        <p:strVal val="visible"/>
                                      </p:to>
                                    </p:set>
                                    <p:anim calcmode="lin" valueType="num">
                                      <p:cBhvr additive="base">
                                        <p:cTn id="17" dur="500" fill="hold"/>
                                        <p:tgtEl>
                                          <p:spTgt spid="3">
                                            <p:graphicEl>
                                              <a:dgm id="{AC9C0D66-4476-453B-B138-23DEF2BEDF8E}"/>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AC9C0D66-4476-453B-B138-23DEF2BEDF8E}"/>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DCB8A046-6EDB-4C39-A9DA-6AA42A0A50B0}"/>
                                            </p:graphicEl>
                                          </p:spTgt>
                                        </p:tgtEl>
                                        <p:attrNameLst>
                                          <p:attrName>style.visibility</p:attrName>
                                        </p:attrNameLst>
                                      </p:cBhvr>
                                      <p:to>
                                        <p:strVal val="visible"/>
                                      </p:to>
                                    </p:set>
                                    <p:anim calcmode="lin" valueType="num">
                                      <p:cBhvr additive="base">
                                        <p:cTn id="21" dur="500" fill="hold"/>
                                        <p:tgtEl>
                                          <p:spTgt spid="3">
                                            <p:graphicEl>
                                              <a:dgm id="{DCB8A046-6EDB-4C39-A9DA-6AA42A0A50B0}"/>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DCB8A046-6EDB-4C39-A9DA-6AA42A0A50B0}"/>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AD186EE7-BBE3-4372-8419-5F7BE05DE232}"/>
                                            </p:graphicEl>
                                          </p:spTgt>
                                        </p:tgtEl>
                                        <p:attrNameLst>
                                          <p:attrName>style.visibility</p:attrName>
                                        </p:attrNameLst>
                                      </p:cBhvr>
                                      <p:to>
                                        <p:strVal val="visible"/>
                                      </p:to>
                                    </p:set>
                                    <p:anim calcmode="lin" valueType="num">
                                      <p:cBhvr additive="base">
                                        <p:cTn id="27" dur="500" fill="hold"/>
                                        <p:tgtEl>
                                          <p:spTgt spid="3">
                                            <p:graphicEl>
                                              <a:dgm id="{AD186EE7-BBE3-4372-8419-5F7BE05DE232}"/>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AD186EE7-BBE3-4372-8419-5F7BE05DE23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11.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4108731237"/>
              </p:ext>
            </p:extLst>
          </p:nvPr>
        </p:nvGraphicFramePr>
        <p:xfrm>
          <a:off x="655638" y="1168857"/>
          <a:ext cx="10880725" cy="53684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dirty="0"/>
              <a:t>SharePoint Site Group Management</a:t>
            </a:r>
          </a:p>
        </p:txBody>
      </p:sp>
    </p:spTree>
    <p:extLst>
      <p:ext uri="{BB962C8B-B14F-4D97-AF65-F5344CB8AC3E}">
        <p14:creationId xmlns:p14="http://schemas.microsoft.com/office/powerpoint/2010/main" val="768175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2D394743-7069-4636-88CE-E0889E9C4D4D}"/>
                                            </p:graphicEl>
                                          </p:spTgt>
                                        </p:tgtEl>
                                        <p:attrNameLst>
                                          <p:attrName>style.visibility</p:attrName>
                                        </p:attrNameLst>
                                      </p:cBhvr>
                                      <p:to>
                                        <p:strVal val="visible"/>
                                      </p:to>
                                    </p:set>
                                    <p:anim calcmode="lin" valueType="num">
                                      <p:cBhvr additive="base">
                                        <p:cTn id="7" dur="500" fill="hold"/>
                                        <p:tgtEl>
                                          <p:spTgt spid="3">
                                            <p:graphicEl>
                                              <a:dgm id="{2D394743-7069-4636-88CE-E0889E9C4D4D}"/>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2D394743-7069-4636-88CE-E0889E9C4D4D}"/>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3C9AF206-4D14-479D-94B8-56EE8D53E2AE}"/>
                                            </p:graphicEl>
                                          </p:spTgt>
                                        </p:tgtEl>
                                        <p:attrNameLst>
                                          <p:attrName>style.visibility</p:attrName>
                                        </p:attrNameLst>
                                      </p:cBhvr>
                                      <p:to>
                                        <p:strVal val="visible"/>
                                      </p:to>
                                    </p:set>
                                    <p:anim calcmode="lin" valueType="num">
                                      <p:cBhvr additive="base">
                                        <p:cTn id="11" dur="500" fill="hold"/>
                                        <p:tgtEl>
                                          <p:spTgt spid="3">
                                            <p:graphicEl>
                                              <a:dgm id="{3C9AF206-4D14-479D-94B8-56EE8D53E2AE}"/>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3C9AF206-4D14-479D-94B8-56EE8D53E2AE}"/>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8E0E21CB-CD63-4AD1-A980-762B41645792}"/>
                                            </p:graphicEl>
                                          </p:spTgt>
                                        </p:tgtEl>
                                        <p:attrNameLst>
                                          <p:attrName>style.visibility</p:attrName>
                                        </p:attrNameLst>
                                      </p:cBhvr>
                                      <p:to>
                                        <p:strVal val="visible"/>
                                      </p:to>
                                    </p:set>
                                    <p:anim calcmode="lin" valueType="num">
                                      <p:cBhvr additive="base">
                                        <p:cTn id="17" dur="500" fill="hold"/>
                                        <p:tgtEl>
                                          <p:spTgt spid="3">
                                            <p:graphicEl>
                                              <a:dgm id="{8E0E21CB-CD63-4AD1-A980-762B41645792}"/>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8E0E21CB-CD63-4AD1-A980-762B41645792}"/>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93ADED32-AD1F-4680-964F-313761D1C96B}"/>
                                            </p:graphicEl>
                                          </p:spTgt>
                                        </p:tgtEl>
                                        <p:attrNameLst>
                                          <p:attrName>style.visibility</p:attrName>
                                        </p:attrNameLst>
                                      </p:cBhvr>
                                      <p:to>
                                        <p:strVal val="visible"/>
                                      </p:to>
                                    </p:set>
                                    <p:anim calcmode="lin" valueType="num">
                                      <p:cBhvr additive="base">
                                        <p:cTn id="21" dur="500" fill="hold"/>
                                        <p:tgtEl>
                                          <p:spTgt spid="3">
                                            <p:graphicEl>
                                              <a:dgm id="{93ADED32-AD1F-4680-964F-313761D1C96B}"/>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93ADED32-AD1F-4680-964F-313761D1C96B}"/>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FF6D8443-B27E-4C43-8215-7BA379D133F9}"/>
                                            </p:graphicEl>
                                          </p:spTgt>
                                        </p:tgtEl>
                                        <p:attrNameLst>
                                          <p:attrName>style.visibility</p:attrName>
                                        </p:attrNameLst>
                                      </p:cBhvr>
                                      <p:to>
                                        <p:strVal val="visible"/>
                                      </p:to>
                                    </p:set>
                                    <p:anim calcmode="lin" valueType="num">
                                      <p:cBhvr additive="base">
                                        <p:cTn id="27" dur="500" fill="hold"/>
                                        <p:tgtEl>
                                          <p:spTgt spid="3">
                                            <p:graphicEl>
                                              <a:dgm id="{FF6D8443-B27E-4C43-8215-7BA379D133F9}"/>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FF6D8443-B27E-4C43-8215-7BA379D133F9}"/>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graphicEl>
                                              <a:dgm id="{8E8248C2-EACF-45CA-9543-1C1C2592F8F4}"/>
                                            </p:graphicEl>
                                          </p:spTgt>
                                        </p:tgtEl>
                                        <p:attrNameLst>
                                          <p:attrName>style.visibility</p:attrName>
                                        </p:attrNameLst>
                                      </p:cBhvr>
                                      <p:to>
                                        <p:strVal val="visible"/>
                                      </p:to>
                                    </p:set>
                                    <p:anim calcmode="lin" valueType="num">
                                      <p:cBhvr additive="base">
                                        <p:cTn id="31" dur="500" fill="hold"/>
                                        <p:tgtEl>
                                          <p:spTgt spid="3">
                                            <p:graphicEl>
                                              <a:dgm id="{8E8248C2-EACF-45CA-9543-1C1C2592F8F4}"/>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8E8248C2-EACF-45CA-9543-1C1C2592F8F4}"/>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01C66945-7F78-49A4-8511-CB81A4B110FA}"/>
                                            </p:graphicEl>
                                          </p:spTgt>
                                        </p:tgtEl>
                                        <p:attrNameLst>
                                          <p:attrName>style.visibility</p:attrName>
                                        </p:attrNameLst>
                                      </p:cBhvr>
                                      <p:to>
                                        <p:strVal val="visible"/>
                                      </p:to>
                                    </p:set>
                                    <p:anim calcmode="lin" valueType="num">
                                      <p:cBhvr additive="base">
                                        <p:cTn id="37" dur="500" fill="hold"/>
                                        <p:tgtEl>
                                          <p:spTgt spid="3">
                                            <p:graphicEl>
                                              <a:dgm id="{01C66945-7F78-49A4-8511-CB81A4B110FA}"/>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01C66945-7F78-49A4-8511-CB81A4B110FA}"/>
                                            </p:graphic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graphicEl>
                                              <a:dgm id="{5BC0C380-D9EB-44C5-BF0B-852A3B13EE51}"/>
                                            </p:graphicEl>
                                          </p:spTgt>
                                        </p:tgtEl>
                                        <p:attrNameLst>
                                          <p:attrName>style.visibility</p:attrName>
                                        </p:attrNameLst>
                                      </p:cBhvr>
                                      <p:to>
                                        <p:strVal val="visible"/>
                                      </p:to>
                                    </p:set>
                                    <p:anim calcmode="lin" valueType="num">
                                      <p:cBhvr additive="base">
                                        <p:cTn id="41" dur="500" fill="hold"/>
                                        <p:tgtEl>
                                          <p:spTgt spid="3">
                                            <p:graphicEl>
                                              <a:dgm id="{5BC0C380-D9EB-44C5-BF0B-852A3B13EE51}"/>
                                            </p:graphic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graphicEl>
                                              <a:dgm id="{5BC0C380-D9EB-44C5-BF0B-852A3B13EE51}"/>
                                            </p:graphic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graphicEl>
                                              <a:dgm id="{BD36CCA7-EEC6-4E2B-BFCC-CAB7FF8F9EBA}"/>
                                            </p:graphicEl>
                                          </p:spTgt>
                                        </p:tgtEl>
                                        <p:attrNameLst>
                                          <p:attrName>style.visibility</p:attrName>
                                        </p:attrNameLst>
                                      </p:cBhvr>
                                      <p:to>
                                        <p:strVal val="visible"/>
                                      </p:to>
                                    </p:set>
                                    <p:anim calcmode="lin" valueType="num">
                                      <p:cBhvr additive="base">
                                        <p:cTn id="47" dur="500" fill="hold"/>
                                        <p:tgtEl>
                                          <p:spTgt spid="3">
                                            <p:graphicEl>
                                              <a:dgm id="{BD36CCA7-EEC6-4E2B-BFCC-CAB7FF8F9EBA}"/>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graphicEl>
                                              <a:dgm id="{BD36CCA7-EEC6-4E2B-BFCC-CAB7FF8F9EBA}"/>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12.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870515231"/>
              </p:ext>
            </p:extLst>
          </p:nvPr>
        </p:nvGraphicFramePr>
        <p:xfrm>
          <a:off x="655638" y="1083513"/>
          <a:ext cx="10880725" cy="49830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Site Collection Management</a:t>
            </a:r>
          </a:p>
        </p:txBody>
      </p:sp>
    </p:spTree>
    <p:extLst>
      <p:ext uri="{BB962C8B-B14F-4D97-AF65-F5344CB8AC3E}">
        <p14:creationId xmlns:p14="http://schemas.microsoft.com/office/powerpoint/2010/main" val="566186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09BBB157-B367-41F6-A670-104C01C38D14}"/>
                                            </p:graphicEl>
                                          </p:spTgt>
                                        </p:tgtEl>
                                        <p:attrNameLst>
                                          <p:attrName>style.visibility</p:attrName>
                                        </p:attrNameLst>
                                      </p:cBhvr>
                                      <p:to>
                                        <p:strVal val="visible"/>
                                      </p:to>
                                    </p:set>
                                    <p:anim calcmode="lin" valueType="num">
                                      <p:cBhvr additive="base">
                                        <p:cTn id="7" dur="500" fill="hold"/>
                                        <p:tgtEl>
                                          <p:spTgt spid="3">
                                            <p:graphicEl>
                                              <a:dgm id="{09BBB157-B367-41F6-A670-104C01C38D14}"/>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09BBB157-B367-41F6-A670-104C01C38D14}"/>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0136E2E0-E10D-4BFE-AD4C-5EB782733B36}"/>
                                            </p:graphicEl>
                                          </p:spTgt>
                                        </p:tgtEl>
                                        <p:attrNameLst>
                                          <p:attrName>style.visibility</p:attrName>
                                        </p:attrNameLst>
                                      </p:cBhvr>
                                      <p:to>
                                        <p:strVal val="visible"/>
                                      </p:to>
                                    </p:set>
                                    <p:anim calcmode="lin" valueType="num">
                                      <p:cBhvr additive="base">
                                        <p:cTn id="11" dur="500" fill="hold"/>
                                        <p:tgtEl>
                                          <p:spTgt spid="3">
                                            <p:graphicEl>
                                              <a:dgm id="{0136E2E0-E10D-4BFE-AD4C-5EB782733B36}"/>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0136E2E0-E10D-4BFE-AD4C-5EB782733B36}"/>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465F25E3-738A-4A41-BC13-6D86D67902D1}"/>
                                            </p:graphicEl>
                                          </p:spTgt>
                                        </p:tgtEl>
                                        <p:attrNameLst>
                                          <p:attrName>style.visibility</p:attrName>
                                        </p:attrNameLst>
                                      </p:cBhvr>
                                      <p:to>
                                        <p:strVal val="visible"/>
                                      </p:to>
                                    </p:set>
                                    <p:anim calcmode="lin" valueType="num">
                                      <p:cBhvr additive="base">
                                        <p:cTn id="17" dur="500" fill="hold"/>
                                        <p:tgtEl>
                                          <p:spTgt spid="3">
                                            <p:graphicEl>
                                              <a:dgm id="{465F25E3-738A-4A41-BC13-6D86D67902D1}"/>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465F25E3-738A-4A41-BC13-6D86D67902D1}"/>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9A5593A6-D2F6-411F-B4D5-3E440E9C527E}"/>
                                            </p:graphicEl>
                                          </p:spTgt>
                                        </p:tgtEl>
                                        <p:attrNameLst>
                                          <p:attrName>style.visibility</p:attrName>
                                        </p:attrNameLst>
                                      </p:cBhvr>
                                      <p:to>
                                        <p:strVal val="visible"/>
                                      </p:to>
                                    </p:set>
                                    <p:anim calcmode="lin" valueType="num">
                                      <p:cBhvr additive="base">
                                        <p:cTn id="21" dur="500" fill="hold"/>
                                        <p:tgtEl>
                                          <p:spTgt spid="3">
                                            <p:graphicEl>
                                              <a:dgm id="{9A5593A6-D2F6-411F-B4D5-3E440E9C527E}"/>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9A5593A6-D2F6-411F-B4D5-3E440E9C527E}"/>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2B74C28D-C207-4FDA-9ADA-E640CDB98A0A}"/>
                                            </p:graphicEl>
                                          </p:spTgt>
                                        </p:tgtEl>
                                        <p:attrNameLst>
                                          <p:attrName>style.visibility</p:attrName>
                                        </p:attrNameLst>
                                      </p:cBhvr>
                                      <p:to>
                                        <p:strVal val="visible"/>
                                      </p:to>
                                    </p:set>
                                    <p:anim calcmode="lin" valueType="num">
                                      <p:cBhvr additive="base">
                                        <p:cTn id="27" dur="500" fill="hold"/>
                                        <p:tgtEl>
                                          <p:spTgt spid="3">
                                            <p:graphicEl>
                                              <a:dgm id="{2B74C28D-C207-4FDA-9ADA-E640CDB98A0A}"/>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2B74C28D-C207-4FDA-9ADA-E640CDB98A0A}"/>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graphicEl>
                                              <a:dgm id="{6103D95B-B6B7-4876-B92A-8044F5DBE45B}"/>
                                            </p:graphicEl>
                                          </p:spTgt>
                                        </p:tgtEl>
                                        <p:attrNameLst>
                                          <p:attrName>style.visibility</p:attrName>
                                        </p:attrNameLst>
                                      </p:cBhvr>
                                      <p:to>
                                        <p:strVal val="visible"/>
                                      </p:to>
                                    </p:set>
                                    <p:anim calcmode="lin" valueType="num">
                                      <p:cBhvr additive="base">
                                        <p:cTn id="31" dur="500" fill="hold"/>
                                        <p:tgtEl>
                                          <p:spTgt spid="3">
                                            <p:graphicEl>
                                              <a:dgm id="{6103D95B-B6B7-4876-B92A-8044F5DBE45B}"/>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6103D95B-B6B7-4876-B92A-8044F5DBE45B}"/>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5D4AEC91-4304-49DB-8ED2-EB89EBA97B33}"/>
                                            </p:graphicEl>
                                          </p:spTgt>
                                        </p:tgtEl>
                                        <p:attrNameLst>
                                          <p:attrName>style.visibility</p:attrName>
                                        </p:attrNameLst>
                                      </p:cBhvr>
                                      <p:to>
                                        <p:strVal val="visible"/>
                                      </p:to>
                                    </p:set>
                                    <p:anim calcmode="lin" valueType="num">
                                      <p:cBhvr additive="base">
                                        <p:cTn id="37" dur="500" fill="hold"/>
                                        <p:tgtEl>
                                          <p:spTgt spid="3">
                                            <p:graphicEl>
                                              <a:dgm id="{5D4AEC91-4304-49DB-8ED2-EB89EBA97B33}"/>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5D4AEC91-4304-49DB-8ED2-EB89EBA97B33}"/>
                                            </p:graphic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graphicEl>
                                              <a:dgm id="{34C19BE3-8139-4707-BA11-18703F2F6C9F}"/>
                                            </p:graphicEl>
                                          </p:spTgt>
                                        </p:tgtEl>
                                        <p:attrNameLst>
                                          <p:attrName>style.visibility</p:attrName>
                                        </p:attrNameLst>
                                      </p:cBhvr>
                                      <p:to>
                                        <p:strVal val="visible"/>
                                      </p:to>
                                    </p:set>
                                    <p:anim calcmode="lin" valueType="num">
                                      <p:cBhvr additive="base">
                                        <p:cTn id="41" dur="500" fill="hold"/>
                                        <p:tgtEl>
                                          <p:spTgt spid="3">
                                            <p:graphicEl>
                                              <a:dgm id="{34C19BE3-8139-4707-BA11-18703F2F6C9F}"/>
                                            </p:graphic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graphicEl>
                                              <a:dgm id="{34C19BE3-8139-4707-BA11-18703F2F6C9F}"/>
                                            </p:graphic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graphicEl>
                                              <a:dgm id="{AF642AD7-B011-44D7-AAA9-F71858B9DF01}"/>
                                            </p:graphicEl>
                                          </p:spTgt>
                                        </p:tgtEl>
                                        <p:attrNameLst>
                                          <p:attrName>style.visibility</p:attrName>
                                        </p:attrNameLst>
                                      </p:cBhvr>
                                      <p:to>
                                        <p:strVal val="visible"/>
                                      </p:to>
                                    </p:set>
                                    <p:anim calcmode="lin" valueType="num">
                                      <p:cBhvr additive="base">
                                        <p:cTn id="47" dur="500" fill="hold"/>
                                        <p:tgtEl>
                                          <p:spTgt spid="3">
                                            <p:graphicEl>
                                              <a:dgm id="{AF642AD7-B011-44D7-AAA9-F71858B9DF01}"/>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graphicEl>
                                              <a:dgm id="{AF642AD7-B011-44D7-AAA9-F71858B9DF01}"/>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Creating Site Collections</a:t>
            </a:r>
          </a:p>
        </p:txBody>
      </p:sp>
      <p:graphicFrame>
        <p:nvGraphicFramePr>
          <p:cNvPr id="11" name="Content Placeholder 10">
            <a:extLst>
              <a:ext uri="{FF2B5EF4-FFF2-40B4-BE49-F238E27FC236}">
                <a16:creationId xmlns:a16="http://schemas.microsoft.com/office/drawing/2014/main" id="{0256737F-50D8-4A21-A656-9BD1790A88C4}"/>
              </a:ext>
            </a:extLst>
          </p:cNvPr>
          <p:cNvGraphicFramePr>
            <a:graphicFrameLocks noGrp="1"/>
          </p:cNvGraphicFramePr>
          <p:nvPr>
            <p:ph sz="quarter" idx="13"/>
            <p:extLst>
              <p:ext uri="{D42A27DB-BD31-4B8C-83A1-F6EECF244321}">
                <p14:modId xmlns:p14="http://schemas.microsoft.com/office/powerpoint/2010/main" val="1564171568"/>
              </p:ext>
            </p:extLst>
          </p:nvPr>
        </p:nvGraphicFramePr>
        <p:xfrm>
          <a:off x="655637" y="1019175"/>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68471036"/>
      </p:ext>
    </p:extLst>
  </p:cSld>
  <p:clrMapOvr>
    <a:masterClrMapping/>
  </p:clrMapOvr>
  <p:transition>
    <p:fade/>
  </p:transition>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Configuring Site Collections</a:t>
            </a:r>
          </a:p>
        </p:txBody>
      </p:sp>
      <p:sp>
        <p:nvSpPr>
          <p:cNvPr id="7" name="Subtitle 6">
            <a:extLst>
              <a:ext uri="{FF2B5EF4-FFF2-40B4-BE49-F238E27FC236}">
                <a16:creationId xmlns:a16="http://schemas.microsoft.com/office/drawing/2014/main" id="{4CFBE9FD-C75C-4063-A25D-EF556633085D}"/>
              </a:ext>
            </a:extLst>
          </p:cNvPr>
          <p:cNvSpPr>
            <a:spLocks noGrp="1"/>
          </p:cNvSpPr>
          <p:nvPr>
            <p:ph type="subTitle" idx="1"/>
          </p:nvPr>
        </p:nvSpPr>
        <p:spPr>
          <a:xfrm>
            <a:off x="655637" y="786383"/>
            <a:ext cx="10880725" cy="461665"/>
          </a:xfrm>
        </p:spPr>
        <p:txBody>
          <a:bodyPr/>
          <a:lstStyle/>
          <a:p>
            <a:r>
              <a:rPr lang="en-US" dirty="0"/>
              <a:t>Set-</a:t>
            </a:r>
            <a:r>
              <a:rPr lang="en-US" dirty="0" err="1"/>
              <a:t>SPOSite</a:t>
            </a:r>
            <a:r>
              <a:rPr lang="en-US" dirty="0"/>
              <a:t> -Identity (URL of site collection)</a:t>
            </a:r>
            <a:endParaRPr lang="nb-NO" dirty="0"/>
          </a:p>
          <a:p>
            <a:endParaRPr lang="en-US" dirty="0"/>
          </a:p>
        </p:txBody>
      </p:sp>
      <p:graphicFrame>
        <p:nvGraphicFramePr>
          <p:cNvPr id="8" name="Diagram 7"/>
          <p:cNvGraphicFramePr/>
          <p:nvPr>
            <p:extLst>
              <p:ext uri="{D42A27DB-BD31-4B8C-83A1-F6EECF244321}">
                <p14:modId xmlns:p14="http://schemas.microsoft.com/office/powerpoint/2010/main" val="1378959199"/>
              </p:ext>
            </p:extLst>
          </p:nvPr>
        </p:nvGraphicFramePr>
        <p:xfrm>
          <a:off x="655637" y="1236783"/>
          <a:ext cx="10972800" cy="5300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AA2C7835-BEBB-4BA0-A853-616466F9696C}"/>
              </a:ext>
            </a:extLst>
          </p:cNvPr>
          <p:cNvSpPr/>
          <p:nvPr/>
        </p:nvSpPr>
        <p:spPr>
          <a:xfrm>
            <a:off x="269239" y="1189177"/>
            <a:ext cx="11653523" cy="868223"/>
          </a:xfrm>
          <a:prstGeom prst="rect">
            <a:avLst/>
          </a:prstGeom>
        </p:spPr>
        <p:txBody>
          <a:bodyPr/>
          <a:lstStyle/>
          <a:p>
            <a:pPr lvl="0" algn="ctr">
              <a:buChar char="•"/>
            </a:pPr>
            <a:endParaRPr lang="nb-NO" dirty="0">
              <a:latin typeface="+mj-lt"/>
            </a:endParaRPr>
          </a:p>
        </p:txBody>
      </p:sp>
    </p:spTree>
    <p:extLst>
      <p:ext uri="{BB962C8B-B14F-4D97-AF65-F5344CB8AC3E}">
        <p14:creationId xmlns:p14="http://schemas.microsoft.com/office/powerpoint/2010/main" val="778868541"/>
      </p:ext>
    </p:extLst>
  </p:cSld>
  <p:clrMapOvr>
    <a:masterClrMapping/>
  </p:clrMapOvr>
  <p:transition>
    <p:fade/>
  </p:transition>
</p:sld>
</file>

<file path=ppt/slides/slide15.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670977205"/>
              </p:ext>
            </p:extLst>
          </p:nvPr>
        </p:nvGraphicFramePr>
        <p:xfrm>
          <a:off x="655638" y="1189177"/>
          <a:ext cx="10880725" cy="41631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SharePoint Online Tenant Level Management</a:t>
            </a:r>
          </a:p>
        </p:txBody>
      </p:sp>
    </p:spTree>
    <p:extLst>
      <p:ext uri="{BB962C8B-B14F-4D97-AF65-F5344CB8AC3E}">
        <p14:creationId xmlns:p14="http://schemas.microsoft.com/office/powerpoint/2010/main" val="3019977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27245228-2E43-44FD-9E41-2DCD5BE90D7D}"/>
                                            </p:graphicEl>
                                          </p:spTgt>
                                        </p:tgtEl>
                                        <p:attrNameLst>
                                          <p:attrName>style.visibility</p:attrName>
                                        </p:attrNameLst>
                                      </p:cBhvr>
                                      <p:to>
                                        <p:strVal val="visible"/>
                                      </p:to>
                                    </p:set>
                                    <p:anim calcmode="lin" valueType="num">
                                      <p:cBhvr additive="base">
                                        <p:cTn id="7" dur="500" fill="hold"/>
                                        <p:tgtEl>
                                          <p:spTgt spid="3">
                                            <p:graphicEl>
                                              <a:dgm id="{27245228-2E43-44FD-9E41-2DCD5BE90D7D}"/>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27245228-2E43-44FD-9E41-2DCD5BE90D7D}"/>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AFA0CD2B-55D6-4A4E-A3C9-EF82BB6B40F4}"/>
                                            </p:graphicEl>
                                          </p:spTgt>
                                        </p:tgtEl>
                                        <p:attrNameLst>
                                          <p:attrName>style.visibility</p:attrName>
                                        </p:attrNameLst>
                                      </p:cBhvr>
                                      <p:to>
                                        <p:strVal val="visible"/>
                                      </p:to>
                                    </p:set>
                                    <p:anim calcmode="lin" valueType="num">
                                      <p:cBhvr additive="base">
                                        <p:cTn id="11" dur="500" fill="hold"/>
                                        <p:tgtEl>
                                          <p:spTgt spid="3">
                                            <p:graphicEl>
                                              <a:dgm id="{AFA0CD2B-55D6-4A4E-A3C9-EF82BB6B40F4}"/>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AFA0CD2B-55D6-4A4E-A3C9-EF82BB6B40F4}"/>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98A557E1-0D3A-41AD-8828-0E0DF0381DCA}"/>
                                            </p:graphicEl>
                                          </p:spTgt>
                                        </p:tgtEl>
                                        <p:attrNameLst>
                                          <p:attrName>style.visibility</p:attrName>
                                        </p:attrNameLst>
                                      </p:cBhvr>
                                      <p:to>
                                        <p:strVal val="visible"/>
                                      </p:to>
                                    </p:set>
                                    <p:anim calcmode="lin" valueType="num">
                                      <p:cBhvr additive="base">
                                        <p:cTn id="17" dur="500" fill="hold"/>
                                        <p:tgtEl>
                                          <p:spTgt spid="3">
                                            <p:graphicEl>
                                              <a:dgm id="{98A557E1-0D3A-41AD-8828-0E0DF0381DCA}"/>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98A557E1-0D3A-41AD-8828-0E0DF0381DCA}"/>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7A4A4BF7-0230-4266-A00C-4331A0504209}"/>
                                            </p:graphicEl>
                                          </p:spTgt>
                                        </p:tgtEl>
                                        <p:attrNameLst>
                                          <p:attrName>style.visibility</p:attrName>
                                        </p:attrNameLst>
                                      </p:cBhvr>
                                      <p:to>
                                        <p:strVal val="visible"/>
                                      </p:to>
                                    </p:set>
                                    <p:anim calcmode="lin" valueType="num">
                                      <p:cBhvr additive="base">
                                        <p:cTn id="21" dur="500" fill="hold"/>
                                        <p:tgtEl>
                                          <p:spTgt spid="3">
                                            <p:graphicEl>
                                              <a:dgm id="{7A4A4BF7-0230-4266-A00C-4331A0504209}"/>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7A4A4BF7-0230-4266-A00C-4331A0504209}"/>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16.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971401211"/>
              </p:ext>
            </p:extLst>
          </p:nvPr>
        </p:nvGraphicFramePr>
        <p:xfrm>
          <a:off x="655637" y="1243640"/>
          <a:ext cx="10880726" cy="5293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SharePoint Online Tenant Level Management (continued)</a:t>
            </a:r>
          </a:p>
        </p:txBody>
      </p:sp>
    </p:spTree>
    <p:extLst>
      <p:ext uri="{BB962C8B-B14F-4D97-AF65-F5344CB8AC3E}">
        <p14:creationId xmlns:p14="http://schemas.microsoft.com/office/powerpoint/2010/main" val="242005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DAE81CFF-3030-45A0-9E95-CE0D0D0FBA9C}"/>
                                            </p:graphicEl>
                                          </p:spTgt>
                                        </p:tgtEl>
                                        <p:attrNameLst>
                                          <p:attrName>style.visibility</p:attrName>
                                        </p:attrNameLst>
                                      </p:cBhvr>
                                      <p:to>
                                        <p:strVal val="visible"/>
                                      </p:to>
                                    </p:set>
                                    <p:anim calcmode="lin" valueType="num">
                                      <p:cBhvr additive="base">
                                        <p:cTn id="7" dur="500" fill="hold"/>
                                        <p:tgtEl>
                                          <p:spTgt spid="3">
                                            <p:graphicEl>
                                              <a:dgm id="{DAE81CFF-3030-45A0-9E95-CE0D0D0FBA9C}"/>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DAE81CFF-3030-45A0-9E95-CE0D0D0FBA9C}"/>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0E3F0EFE-5D69-4483-8CD7-002A2BE13538}"/>
                                            </p:graphicEl>
                                          </p:spTgt>
                                        </p:tgtEl>
                                        <p:attrNameLst>
                                          <p:attrName>style.visibility</p:attrName>
                                        </p:attrNameLst>
                                      </p:cBhvr>
                                      <p:to>
                                        <p:strVal val="visible"/>
                                      </p:to>
                                    </p:set>
                                    <p:anim calcmode="lin" valueType="num">
                                      <p:cBhvr additive="base">
                                        <p:cTn id="11" dur="500" fill="hold"/>
                                        <p:tgtEl>
                                          <p:spTgt spid="3">
                                            <p:graphicEl>
                                              <a:dgm id="{0E3F0EFE-5D69-4483-8CD7-002A2BE13538}"/>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0E3F0EFE-5D69-4483-8CD7-002A2BE13538}"/>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45EF7D58-F259-4C47-9232-32F56EF1FF14}"/>
                                            </p:graphicEl>
                                          </p:spTgt>
                                        </p:tgtEl>
                                        <p:attrNameLst>
                                          <p:attrName>style.visibility</p:attrName>
                                        </p:attrNameLst>
                                      </p:cBhvr>
                                      <p:to>
                                        <p:strVal val="visible"/>
                                      </p:to>
                                    </p:set>
                                    <p:anim calcmode="lin" valueType="num">
                                      <p:cBhvr additive="base">
                                        <p:cTn id="17" dur="500" fill="hold"/>
                                        <p:tgtEl>
                                          <p:spTgt spid="3">
                                            <p:graphicEl>
                                              <a:dgm id="{45EF7D58-F259-4C47-9232-32F56EF1FF14}"/>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45EF7D58-F259-4C47-9232-32F56EF1FF14}"/>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D86D7E24-33F0-4696-90CB-7E9DC55AFC6D}"/>
                                            </p:graphicEl>
                                          </p:spTgt>
                                        </p:tgtEl>
                                        <p:attrNameLst>
                                          <p:attrName>style.visibility</p:attrName>
                                        </p:attrNameLst>
                                      </p:cBhvr>
                                      <p:to>
                                        <p:strVal val="visible"/>
                                      </p:to>
                                    </p:set>
                                    <p:anim calcmode="lin" valueType="num">
                                      <p:cBhvr additive="base">
                                        <p:cTn id="21" dur="500" fill="hold"/>
                                        <p:tgtEl>
                                          <p:spTgt spid="3">
                                            <p:graphicEl>
                                              <a:dgm id="{D86D7E24-33F0-4696-90CB-7E9DC55AFC6D}"/>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D86D7E24-33F0-4696-90CB-7E9DC55AFC6D}"/>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A2ADA242-4888-4672-B1C4-0E030D8A8208}"/>
                                            </p:graphicEl>
                                          </p:spTgt>
                                        </p:tgtEl>
                                        <p:attrNameLst>
                                          <p:attrName>style.visibility</p:attrName>
                                        </p:attrNameLst>
                                      </p:cBhvr>
                                      <p:to>
                                        <p:strVal val="visible"/>
                                      </p:to>
                                    </p:set>
                                    <p:anim calcmode="lin" valueType="num">
                                      <p:cBhvr additive="base">
                                        <p:cTn id="27" dur="500" fill="hold"/>
                                        <p:tgtEl>
                                          <p:spTgt spid="3">
                                            <p:graphicEl>
                                              <a:dgm id="{A2ADA242-4888-4672-B1C4-0E030D8A8208}"/>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A2ADA242-4888-4672-B1C4-0E030D8A8208}"/>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graphicEl>
                                              <a:dgm id="{F2911BE1-229C-4C96-AE03-78250CF9BD27}"/>
                                            </p:graphicEl>
                                          </p:spTgt>
                                        </p:tgtEl>
                                        <p:attrNameLst>
                                          <p:attrName>style.visibility</p:attrName>
                                        </p:attrNameLst>
                                      </p:cBhvr>
                                      <p:to>
                                        <p:strVal val="visible"/>
                                      </p:to>
                                    </p:set>
                                    <p:anim calcmode="lin" valueType="num">
                                      <p:cBhvr additive="base">
                                        <p:cTn id="31" dur="500" fill="hold"/>
                                        <p:tgtEl>
                                          <p:spTgt spid="3">
                                            <p:graphicEl>
                                              <a:dgm id="{F2911BE1-229C-4C96-AE03-78250CF9BD27}"/>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F2911BE1-229C-4C96-AE03-78250CF9BD27}"/>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SharePoint Online Tenant Level Management (continued)</a:t>
            </a:r>
          </a:p>
        </p:txBody>
      </p:sp>
      <p:graphicFrame>
        <p:nvGraphicFramePr>
          <p:cNvPr id="10" name="Diagram 9">
            <a:extLst>
              <a:ext uri="{FF2B5EF4-FFF2-40B4-BE49-F238E27FC236}">
                <a16:creationId xmlns:a16="http://schemas.microsoft.com/office/drawing/2014/main" id="{9AEC0F85-BF00-4782-829A-66618381F380}"/>
              </a:ext>
            </a:extLst>
          </p:cNvPr>
          <p:cNvGraphicFramePr/>
          <p:nvPr>
            <p:extLst>
              <p:ext uri="{D42A27DB-BD31-4B8C-83A1-F6EECF244321}">
                <p14:modId xmlns:p14="http://schemas.microsoft.com/office/powerpoint/2010/main" val="1705778568"/>
              </p:ext>
            </p:extLst>
          </p:nvPr>
        </p:nvGraphicFramePr>
        <p:xfrm>
          <a:off x="655637" y="1242009"/>
          <a:ext cx="10880726" cy="4068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91642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graphicEl>
                                              <a:dgm id="{10411843-9BC4-4EFB-A20D-58AFD5AC24D9}"/>
                                            </p:graphicEl>
                                          </p:spTgt>
                                        </p:tgtEl>
                                        <p:attrNameLst>
                                          <p:attrName>style.visibility</p:attrName>
                                        </p:attrNameLst>
                                      </p:cBhvr>
                                      <p:to>
                                        <p:strVal val="visible"/>
                                      </p:to>
                                    </p:set>
                                    <p:anim calcmode="lin" valueType="num">
                                      <p:cBhvr additive="base">
                                        <p:cTn id="7" dur="500" fill="hold"/>
                                        <p:tgtEl>
                                          <p:spTgt spid="10">
                                            <p:graphicEl>
                                              <a:dgm id="{10411843-9BC4-4EFB-A20D-58AFD5AC24D9}"/>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graphicEl>
                                              <a:dgm id="{10411843-9BC4-4EFB-A20D-58AFD5AC24D9}"/>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graphicEl>
                                              <a:dgm id="{E6287671-3664-48BA-B26A-B18DDDD7786C}"/>
                                            </p:graphicEl>
                                          </p:spTgt>
                                        </p:tgtEl>
                                        <p:attrNameLst>
                                          <p:attrName>style.visibility</p:attrName>
                                        </p:attrNameLst>
                                      </p:cBhvr>
                                      <p:to>
                                        <p:strVal val="visible"/>
                                      </p:to>
                                    </p:set>
                                    <p:anim calcmode="lin" valueType="num">
                                      <p:cBhvr additive="base">
                                        <p:cTn id="11" dur="500" fill="hold"/>
                                        <p:tgtEl>
                                          <p:spTgt spid="10">
                                            <p:graphicEl>
                                              <a:dgm id="{E6287671-3664-48BA-B26A-B18DDDD7786C}"/>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10">
                                            <p:graphicEl>
                                              <a:dgm id="{E6287671-3664-48BA-B26A-B18DDDD7786C}"/>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0">
                                            <p:graphicEl>
                                              <a:dgm id="{3BB53DBE-167A-4AAC-BB00-254B90B1AB61}"/>
                                            </p:graphicEl>
                                          </p:spTgt>
                                        </p:tgtEl>
                                        <p:attrNameLst>
                                          <p:attrName>style.visibility</p:attrName>
                                        </p:attrNameLst>
                                      </p:cBhvr>
                                      <p:to>
                                        <p:strVal val="visible"/>
                                      </p:to>
                                    </p:set>
                                    <p:anim calcmode="lin" valueType="num">
                                      <p:cBhvr additive="base">
                                        <p:cTn id="17" dur="500" fill="hold"/>
                                        <p:tgtEl>
                                          <p:spTgt spid="10">
                                            <p:graphicEl>
                                              <a:dgm id="{3BB53DBE-167A-4AAC-BB00-254B90B1AB61}"/>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10">
                                            <p:graphicEl>
                                              <a:dgm id="{3BB53DBE-167A-4AAC-BB00-254B90B1AB61}"/>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0">
                                            <p:graphicEl>
                                              <a:dgm id="{9A691183-0856-4417-94F3-D488C9A27C49}"/>
                                            </p:graphicEl>
                                          </p:spTgt>
                                        </p:tgtEl>
                                        <p:attrNameLst>
                                          <p:attrName>style.visibility</p:attrName>
                                        </p:attrNameLst>
                                      </p:cBhvr>
                                      <p:to>
                                        <p:strVal val="visible"/>
                                      </p:to>
                                    </p:set>
                                    <p:anim calcmode="lin" valueType="num">
                                      <p:cBhvr additive="base">
                                        <p:cTn id="21" dur="500" fill="hold"/>
                                        <p:tgtEl>
                                          <p:spTgt spid="10">
                                            <p:graphicEl>
                                              <a:dgm id="{9A691183-0856-4417-94F3-D488C9A27C49}"/>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10">
                                            <p:graphicEl>
                                              <a:dgm id="{9A691183-0856-4417-94F3-D488C9A27C49}"/>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0">
                                            <p:graphicEl>
                                              <a:dgm id="{A7D9BA0F-49B6-46C4-ACCF-255967A23023}"/>
                                            </p:graphicEl>
                                          </p:spTgt>
                                        </p:tgtEl>
                                        <p:attrNameLst>
                                          <p:attrName>style.visibility</p:attrName>
                                        </p:attrNameLst>
                                      </p:cBhvr>
                                      <p:to>
                                        <p:strVal val="visible"/>
                                      </p:to>
                                    </p:set>
                                    <p:anim calcmode="lin" valueType="num">
                                      <p:cBhvr additive="base">
                                        <p:cTn id="27" dur="500" fill="hold"/>
                                        <p:tgtEl>
                                          <p:spTgt spid="10">
                                            <p:graphicEl>
                                              <a:dgm id="{A7D9BA0F-49B6-46C4-ACCF-255967A23023}"/>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10">
                                            <p:graphicEl>
                                              <a:dgm id="{A7D9BA0F-49B6-46C4-ACCF-255967A23023}"/>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graphicEl>
                                              <a:dgm id="{12AA0DE4-76AD-438E-9945-C4C1D612422C}"/>
                                            </p:graphicEl>
                                          </p:spTgt>
                                        </p:tgtEl>
                                        <p:attrNameLst>
                                          <p:attrName>style.visibility</p:attrName>
                                        </p:attrNameLst>
                                      </p:cBhvr>
                                      <p:to>
                                        <p:strVal val="visible"/>
                                      </p:to>
                                    </p:set>
                                    <p:anim calcmode="lin" valueType="num">
                                      <p:cBhvr additive="base">
                                        <p:cTn id="31" dur="500" fill="hold"/>
                                        <p:tgtEl>
                                          <p:spTgt spid="10">
                                            <p:graphicEl>
                                              <a:dgm id="{12AA0DE4-76AD-438E-9945-C4C1D612422C}"/>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10">
                                            <p:graphicEl>
                                              <a:dgm id="{12AA0DE4-76AD-438E-9945-C4C1D612422C}"/>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Dgm bld="one"/>
        </p:bldSub>
      </p:bldGraphic>
    </p:bldLst>
  </p:timing>
</p:sld>
</file>

<file path=ppt/slides/slide1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0BF6C4FF-81AE-4B53-9D00-8B4A36FED1AE}"/>
              </a:ext>
            </a:extLst>
          </p:cNvPr>
          <p:cNvSpPr/>
          <p:nvPr/>
        </p:nvSpPr>
        <p:spPr>
          <a:xfrm>
            <a:off x="189229" y="4733343"/>
            <a:ext cx="11653522" cy="1747467"/>
          </a:xfrm>
          <a:custGeom>
            <a:avLst/>
            <a:gdLst>
              <a:gd name="connsiteX0" fmla="*/ 0 w 11653522"/>
              <a:gd name="connsiteY0" fmla="*/ 0 h 1074370"/>
              <a:gd name="connsiteX1" fmla="*/ 11653522 w 11653522"/>
              <a:gd name="connsiteY1" fmla="*/ 0 h 1074370"/>
              <a:gd name="connsiteX2" fmla="*/ 11653522 w 11653522"/>
              <a:gd name="connsiteY2" fmla="*/ 1074370 h 1074370"/>
              <a:gd name="connsiteX3" fmla="*/ 0 w 11653522"/>
              <a:gd name="connsiteY3" fmla="*/ 1074370 h 1074370"/>
              <a:gd name="connsiteX4" fmla="*/ 0 w 11653522"/>
              <a:gd name="connsiteY4" fmla="*/ 0 h 107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1074370">
                <a:moveTo>
                  <a:pt x="0" y="0"/>
                </a:moveTo>
                <a:lnTo>
                  <a:pt x="11653522" y="0"/>
                </a:lnTo>
                <a:lnTo>
                  <a:pt x="11653522" y="1074370"/>
                </a:lnTo>
                <a:lnTo>
                  <a:pt x="0" y="107437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26670" rIns="149352" bIns="26670" numCol="1" spcCol="1270" anchor="t" anchorCtr="0">
            <a:noAutofit/>
          </a:bodyPr>
          <a:lstStyle/>
          <a:p>
            <a:pPr marL="171450" lvl="1" indent="-171450" defTabSz="711200">
              <a:lnSpc>
                <a:spcPct val="90000"/>
              </a:lnSpc>
              <a:spcBef>
                <a:spcPct val="0"/>
              </a:spcBef>
              <a:spcAft>
                <a:spcPct val="20000"/>
              </a:spcAft>
              <a:buChar char="•"/>
            </a:pPr>
            <a:endParaRPr lang="nb-NO" sz="2000" kern="1200" dirty="0">
              <a:latin typeface="+mj-lt"/>
            </a:endParaRPr>
          </a:p>
        </p:txBody>
      </p:sp>
      <p:sp>
        <p:nvSpPr>
          <p:cNvPr id="2" name="Title 1"/>
          <p:cNvSpPr>
            <a:spLocks noGrp="1"/>
          </p:cNvSpPr>
          <p:nvPr>
            <p:ph type="title"/>
          </p:nvPr>
        </p:nvSpPr>
        <p:spPr>
          <a:xfrm>
            <a:off x="655638" y="320040"/>
            <a:ext cx="10880725" cy="461665"/>
          </a:xfrm>
        </p:spPr>
        <p:txBody>
          <a:bodyPr/>
          <a:lstStyle/>
          <a:p>
            <a:r>
              <a:rPr lang="en-US"/>
              <a:t>Managing Tenant Level External User Access </a:t>
            </a:r>
          </a:p>
        </p:txBody>
      </p:sp>
      <p:graphicFrame>
        <p:nvGraphicFramePr>
          <p:cNvPr id="12" name="Content Placeholder 11">
            <a:extLst>
              <a:ext uri="{FF2B5EF4-FFF2-40B4-BE49-F238E27FC236}">
                <a16:creationId xmlns:a16="http://schemas.microsoft.com/office/drawing/2014/main" id="{D731F082-00D2-4AFC-866F-E8D76B8CC2F1}"/>
              </a:ext>
            </a:extLst>
          </p:cNvPr>
          <p:cNvGraphicFramePr>
            <a:graphicFrameLocks noGrp="1"/>
          </p:cNvGraphicFramePr>
          <p:nvPr>
            <p:ph sz="quarter" idx="13"/>
            <p:extLst>
              <p:ext uri="{D42A27DB-BD31-4B8C-83A1-F6EECF244321}">
                <p14:modId xmlns:p14="http://schemas.microsoft.com/office/powerpoint/2010/main" val="201614234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4429706"/>
      </p:ext>
    </p:extLst>
  </p:cSld>
  <p:clrMapOvr>
    <a:masterClrMapping/>
  </p:clrMapOvr>
  <p:transition>
    <p:fade/>
  </p:transition>
</p:sld>
</file>

<file path=ppt/slides/slide19.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224567011"/>
              </p:ext>
            </p:extLst>
          </p:nvPr>
        </p:nvGraphicFramePr>
        <p:xfrm>
          <a:off x="655637" y="1107544"/>
          <a:ext cx="10880726" cy="38996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Managing SPO Site Level External User Access </a:t>
            </a:r>
          </a:p>
        </p:txBody>
      </p:sp>
    </p:spTree>
    <p:extLst>
      <p:ext uri="{BB962C8B-B14F-4D97-AF65-F5344CB8AC3E}">
        <p14:creationId xmlns:p14="http://schemas.microsoft.com/office/powerpoint/2010/main" val="31944829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1DB73334-A60C-46C3-9827-200FBE18B182}"/>
                                            </p:graphicEl>
                                          </p:spTgt>
                                        </p:tgtEl>
                                        <p:attrNameLst>
                                          <p:attrName>style.visibility</p:attrName>
                                        </p:attrNameLst>
                                      </p:cBhvr>
                                      <p:to>
                                        <p:strVal val="visible"/>
                                      </p:to>
                                    </p:set>
                                    <p:anim calcmode="lin" valueType="num">
                                      <p:cBhvr additive="base">
                                        <p:cTn id="7" dur="500" fill="hold"/>
                                        <p:tgtEl>
                                          <p:spTgt spid="3">
                                            <p:graphicEl>
                                              <a:dgm id="{1DB73334-A60C-46C3-9827-200FBE18B182}"/>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1DB73334-A60C-46C3-9827-200FBE18B182}"/>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graphicEl>
                                              <a:dgm id="{542471D6-9123-4515-9F2F-4207DDB53F9B}"/>
                                            </p:graphicEl>
                                          </p:spTgt>
                                        </p:tgtEl>
                                        <p:attrNameLst>
                                          <p:attrName>style.visibility</p:attrName>
                                        </p:attrNameLst>
                                      </p:cBhvr>
                                      <p:to>
                                        <p:strVal val="visible"/>
                                      </p:to>
                                    </p:set>
                                    <p:anim calcmode="lin" valueType="num">
                                      <p:cBhvr additive="base">
                                        <p:cTn id="13" dur="500" fill="hold"/>
                                        <p:tgtEl>
                                          <p:spTgt spid="3">
                                            <p:graphicEl>
                                              <a:dgm id="{542471D6-9123-4515-9F2F-4207DDB53F9B}"/>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graphicEl>
                                              <a:dgm id="{542471D6-9123-4515-9F2F-4207DDB53F9B}"/>
                                            </p:graphic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
                                            <p:graphicEl>
                                              <a:dgm id="{B162625F-46C7-4A4B-9111-6216F8FE8C8A}"/>
                                            </p:graphicEl>
                                          </p:spTgt>
                                        </p:tgtEl>
                                        <p:attrNameLst>
                                          <p:attrName>style.visibility</p:attrName>
                                        </p:attrNameLst>
                                      </p:cBhvr>
                                      <p:to>
                                        <p:strVal val="visible"/>
                                      </p:to>
                                    </p:set>
                                    <p:anim calcmode="lin" valueType="num">
                                      <p:cBhvr additive="base">
                                        <p:cTn id="17" dur="500" fill="hold"/>
                                        <p:tgtEl>
                                          <p:spTgt spid="3">
                                            <p:graphicEl>
                                              <a:dgm id="{B162625F-46C7-4A4B-9111-6216F8FE8C8A}"/>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B162625F-46C7-4A4B-9111-6216F8FE8C8A}"/>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53000" y="6233160"/>
            <a:ext cx="19050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5172831"/>
      </p:ext>
    </p:extLst>
  </p:cSld>
  <p:clrMapOvr>
    <a:masterClrMapping/>
  </p:clrMapOvr>
</p:sld>
</file>

<file path=ppt/slides/slide20.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128406319"/>
              </p:ext>
            </p:extLst>
          </p:nvPr>
        </p:nvGraphicFramePr>
        <p:xfrm>
          <a:off x="655637" y="1280160"/>
          <a:ext cx="10880726" cy="5257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dirty="0"/>
              <a:t>Tenant Level External Sharing Domain Restriction</a:t>
            </a:r>
          </a:p>
        </p:txBody>
      </p:sp>
    </p:spTree>
    <p:extLst>
      <p:ext uri="{BB962C8B-B14F-4D97-AF65-F5344CB8AC3E}">
        <p14:creationId xmlns:p14="http://schemas.microsoft.com/office/powerpoint/2010/main" val="448368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0E7807A2-1104-4A51-82F5-12EEDC1D6190}"/>
                                            </p:graphicEl>
                                          </p:spTgt>
                                        </p:tgtEl>
                                        <p:attrNameLst>
                                          <p:attrName>style.visibility</p:attrName>
                                        </p:attrNameLst>
                                      </p:cBhvr>
                                      <p:to>
                                        <p:strVal val="visible"/>
                                      </p:to>
                                    </p:set>
                                    <p:anim calcmode="lin" valueType="num">
                                      <p:cBhvr additive="base">
                                        <p:cTn id="7" dur="500" fill="hold"/>
                                        <p:tgtEl>
                                          <p:spTgt spid="3">
                                            <p:graphicEl>
                                              <a:dgm id="{0E7807A2-1104-4A51-82F5-12EEDC1D6190}"/>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0E7807A2-1104-4A51-82F5-12EEDC1D6190}"/>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graphicEl>
                                              <a:dgm id="{2E03E549-EA63-497E-AEE2-C3AB1B0F580C}"/>
                                            </p:graphicEl>
                                          </p:spTgt>
                                        </p:tgtEl>
                                        <p:attrNameLst>
                                          <p:attrName>style.visibility</p:attrName>
                                        </p:attrNameLst>
                                      </p:cBhvr>
                                      <p:to>
                                        <p:strVal val="visible"/>
                                      </p:to>
                                    </p:set>
                                    <p:anim calcmode="lin" valueType="num">
                                      <p:cBhvr additive="base">
                                        <p:cTn id="13" dur="500" fill="hold"/>
                                        <p:tgtEl>
                                          <p:spTgt spid="3">
                                            <p:graphicEl>
                                              <a:dgm id="{2E03E549-EA63-497E-AEE2-C3AB1B0F580C}"/>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graphicEl>
                                              <a:dgm id="{2E03E549-EA63-497E-AEE2-C3AB1B0F580C}"/>
                                            </p:graphicEl>
                                          </p:spTgt>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
                                            <p:graphicEl>
                                              <a:dgm id="{AD7D0B9D-B953-4B79-975C-0D0E1108B154}"/>
                                            </p:graphicEl>
                                          </p:spTgt>
                                        </p:tgtEl>
                                        <p:attrNameLst>
                                          <p:attrName>style.visibility</p:attrName>
                                        </p:attrNameLst>
                                      </p:cBhvr>
                                      <p:to>
                                        <p:strVal val="visible"/>
                                      </p:to>
                                    </p:set>
                                    <p:anim calcmode="lin" valueType="num">
                                      <p:cBhvr additive="base">
                                        <p:cTn id="17" dur="500" fill="hold"/>
                                        <p:tgtEl>
                                          <p:spTgt spid="3">
                                            <p:graphicEl>
                                              <a:dgm id="{AD7D0B9D-B953-4B79-975C-0D0E1108B154}"/>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AD7D0B9D-B953-4B79-975C-0D0E1108B154}"/>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7"/>
            <a:ext cx="4352926" cy="2493962"/>
          </a:xfrm>
        </p:spPr>
        <p:txBody>
          <a:bodyPr/>
          <a:lstStyle/>
          <a:p>
            <a:r>
              <a:rPr lang="en-US"/>
              <a:t>Demonstration</a:t>
            </a:r>
            <a:endParaRPr lang="nb-NO"/>
          </a:p>
        </p:txBody>
      </p:sp>
      <p:sp>
        <p:nvSpPr>
          <p:cNvPr id="3" name="Text Placeholder 2"/>
          <p:cNvSpPr>
            <a:spLocks noGrp="1"/>
          </p:cNvSpPr>
          <p:nvPr>
            <p:ph type="body" sz="quarter" idx="10"/>
          </p:nvPr>
        </p:nvSpPr>
        <p:spPr>
          <a:xfrm>
            <a:off x="655320" y="3584448"/>
            <a:ext cx="4352925" cy="2643188"/>
          </a:xfrm>
        </p:spPr>
        <p:txBody>
          <a:bodyPr/>
          <a:lstStyle/>
          <a:p>
            <a:endParaRPr lang="en-US"/>
          </a:p>
          <a:p>
            <a:endParaRPr lang="en-US"/>
          </a:p>
          <a:p>
            <a:r>
              <a:rPr lang="en-US"/>
              <a:t>SharePoint Online Management Shell</a:t>
            </a:r>
            <a:endParaRPr lang="nb-NO"/>
          </a:p>
        </p:txBody>
      </p:sp>
    </p:spTree>
    <p:extLst>
      <p:ext uri="{BB962C8B-B14F-4D97-AF65-F5344CB8AC3E}">
        <p14:creationId xmlns:p14="http://schemas.microsoft.com/office/powerpoint/2010/main" val="416349633"/>
      </p:ext>
    </p:extLst>
  </p:cSld>
  <p:clrMapOvr>
    <a:masterClrMapping/>
  </p:clrMapOvr>
  <p:transition>
    <p:fade/>
  </p:transition>
</p:sld>
</file>

<file path=ppt/slides/slide22.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542976900"/>
              </p:ext>
            </p:extLst>
          </p:nvPr>
        </p:nvGraphicFramePr>
        <p:xfrm>
          <a:off x="655638" y="1185113"/>
          <a:ext cx="10880725" cy="19856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Basic Windows PowerShell Commands </a:t>
            </a:r>
          </a:p>
        </p:txBody>
      </p:sp>
    </p:spTree>
    <p:extLst>
      <p:ext uri="{BB962C8B-B14F-4D97-AF65-F5344CB8AC3E}">
        <p14:creationId xmlns:p14="http://schemas.microsoft.com/office/powerpoint/2010/main" val="240394082"/>
      </p:ext>
    </p:extLst>
  </p:cSld>
  <p:clrMapOvr>
    <a:masterClrMapping/>
  </p:clrMapOvr>
  <p:transition>
    <p:fade/>
  </p:transition>
</p:sld>
</file>

<file path=ppt/slides/slide23.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58982962"/>
              </p:ext>
            </p:extLst>
          </p:nvPr>
        </p:nvGraphicFramePr>
        <p:xfrm>
          <a:off x="655637" y="1372057"/>
          <a:ext cx="10880726" cy="3535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Get-Help</a:t>
            </a:r>
          </a:p>
        </p:txBody>
      </p:sp>
    </p:spTree>
    <p:extLst>
      <p:ext uri="{BB962C8B-B14F-4D97-AF65-F5344CB8AC3E}">
        <p14:creationId xmlns:p14="http://schemas.microsoft.com/office/powerpoint/2010/main" val="612320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F968AD80-41B5-430E-9DD6-396E38746D20}"/>
                                            </p:graphicEl>
                                          </p:spTgt>
                                        </p:tgtEl>
                                        <p:attrNameLst>
                                          <p:attrName>style.visibility</p:attrName>
                                        </p:attrNameLst>
                                      </p:cBhvr>
                                      <p:to>
                                        <p:strVal val="visible"/>
                                      </p:to>
                                    </p:set>
                                    <p:anim calcmode="lin" valueType="num">
                                      <p:cBhvr additive="base">
                                        <p:cTn id="7" dur="500" fill="hold"/>
                                        <p:tgtEl>
                                          <p:spTgt spid="3">
                                            <p:graphicEl>
                                              <a:dgm id="{F968AD80-41B5-430E-9DD6-396E38746D20}"/>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F968AD80-41B5-430E-9DD6-396E38746D20}"/>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2910C1A8-B5D6-43B0-A9CC-F9A652EFC570}"/>
                                            </p:graphicEl>
                                          </p:spTgt>
                                        </p:tgtEl>
                                        <p:attrNameLst>
                                          <p:attrName>style.visibility</p:attrName>
                                        </p:attrNameLst>
                                      </p:cBhvr>
                                      <p:to>
                                        <p:strVal val="visible"/>
                                      </p:to>
                                    </p:set>
                                    <p:anim calcmode="lin" valueType="num">
                                      <p:cBhvr additive="base">
                                        <p:cTn id="11" dur="500" fill="hold"/>
                                        <p:tgtEl>
                                          <p:spTgt spid="3">
                                            <p:graphicEl>
                                              <a:dgm id="{2910C1A8-B5D6-43B0-A9CC-F9A652EFC570}"/>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2910C1A8-B5D6-43B0-A9CC-F9A652EFC570}"/>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075BF9B2-84C8-481C-8EF3-218B1B3D6A42}"/>
                                            </p:graphicEl>
                                          </p:spTgt>
                                        </p:tgtEl>
                                        <p:attrNameLst>
                                          <p:attrName>style.visibility</p:attrName>
                                        </p:attrNameLst>
                                      </p:cBhvr>
                                      <p:to>
                                        <p:strVal val="visible"/>
                                      </p:to>
                                    </p:set>
                                    <p:anim calcmode="lin" valueType="num">
                                      <p:cBhvr additive="base">
                                        <p:cTn id="17" dur="500" fill="hold"/>
                                        <p:tgtEl>
                                          <p:spTgt spid="3">
                                            <p:graphicEl>
                                              <a:dgm id="{075BF9B2-84C8-481C-8EF3-218B1B3D6A42}"/>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075BF9B2-84C8-481C-8EF3-218B1B3D6A42}"/>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D0398CF2-E967-4728-98AC-B5DEDEDACA2A}"/>
                                            </p:graphicEl>
                                          </p:spTgt>
                                        </p:tgtEl>
                                        <p:attrNameLst>
                                          <p:attrName>style.visibility</p:attrName>
                                        </p:attrNameLst>
                                      </p:cBhvr>
                                      <p:to>
                                        <p:strVal val="visible"/>
                                      </p:to>
                                    </p:set>
                                    <p:anim calcmode="lin" valueType="num">
                                      <p:cBhvr additive="base">
                                        <p:cTn id="21" dur="500" fill="hold"/>
                                        <p:tgtEl>
                                          <p:spTgt spid="3">
                                            <p:graphicEl>
                                              <a:dgm id="{D0398CF2-E967-4728-98AC-B5DEDEDACA2A}"/>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D0398CF2-E967-4728-98AC-B5DEDEDACA2A}"/>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Using |FL to Format Output </a:t>
            </a:r>
          </a:p>
        </p:txBody>
      </p:sp>
      <p:sp>
        <p:nvSpPr>
          <p:cNvPr id="7" name="Content Placeholder 6">
            <a:extLst>
              <a:ext uri="{FF2B5EF4-FFF2-40B4-BE49-F238E27FC236}">
                <a16:creationId xmlns:a16="http://schemas.microsoft.com/office/drawing/2014/main" id="{52C3EF6D-2CDA-464E-AC08-2DFDC0D7566F}"/>
              </a:ext>
            </a:extLst>
          </p:cNvPr>
          <p:cNvSpPr>
            <a:spLocks noGrp="1"/>
          </p:cNvSpPr>
          <p:nvPr>
            <p:ph sz="quarter" idx="13"/>
          </p:nvPr>
        </p:nvSpPr>
        <p:spPr/>
        <p:txBody>
          <a:bodyPr/>
          <a:lstStyle/>
          <a:p>
            <a:endParaRPr lang="en-US"/>
          </a:p>
        </p:txBody>
      </p:sp>
      <p:pic>
        <p:nvPicPr>
          <p:cNvPr id="3" name="Picture 2">
            <a:extLst>
              <a:ext uri="{FF2B5EF4-FFF2-40B4-BE49-F238E27FC236}">
                <a16:creationId xmlns:a16="http://schemas.microsoft.com/office/drawing/2014/main" id="{3020B800-28F2-452F-BD37-8362842E3015}"/>
              </a:ext>
            </a:extLst>
          </p:cNvPr>
          <p:cNvPicPr>
            <a:picLocks noChangeAspect="1"/>
          </p:cNvPicPr>
          <p:nvPr/>
        </p:nvPicPr>
        <p:blipFill>
          <a:blip r:embed="rId3"/>
          <a:stretch>
            <a:fillRect/>
          </a:stretch>
        </p:blipFill>
        <p:spPr>
          <a:xfrm>
            <a:off x="2344615" y="2598264"/>
            <a:ext cx="8613430" cy="1065496"/>
          </a:xfrm>
          <a:prstGeom prst="rect">
            <a:avLst/>
          </a:prstGeom>
        </p:spPr>
      </p:pic>
      <p:pic>
        <p:nvPicPr>
          <p:cNvPr id="6" name="Picture 5">
            <a:extLst>
              <a:ext uri="{FF2B5EF4-FFF2-40B4-BE49-F238E27FC236}">
                <a16:creationId xmlns:a16="http://schemas.microsoft.com/office/drawing/2014/main" id="{654F9AF3-EC72-4133-A807-0CBEBF21FAF8}"/>
              </a:ext>
            </a:extLst>
          </p:cNvPr>
          <p:cNvPicPr>
            <a:picLocks noChangeAspect="1"/>
          </p:cNvPicPr>
          <p:nvPr/>
        </p:nvPicPr>
        <p:blipFill>
          <a:blip r:embed="rId4"/>
          <a:stretch>
            <a:fillRect/>
          </a:stretch>
        </p:blipFill>
        <p:spPr>
          <a:xfrm>
            <a:off x="4639389" y="1436722"/>
            <a:ext cx="5608068" cy="5131767"/>
          </a:xfrm>
          <a:prstGeom prst="rect">
            <a:avLst/>
          </a:prstGeom>
        </p:spPr>
      </p:pic>
      <p:sp>
        <p:nvSpPr>
          <p:cNvPr id="8" name="TextBox 7">
            <a:extLst>
              <a:ext uri="{FF2B5EF4-FFF2-40B4-BE49-F238E27FC236}">
                <a16:creationId xmlns:a16="http://schemas.microsoft.com/office/drawing/2014/main" id="{852DD246-B2E7-4AB8-BD97-DFA9A999F85D}"/>
              </a:ext>
            </a:extLst>
          </p:cNvPr>
          <p:cNvSpPr txBox="1"/>
          <p:nvPr/>
        </p:nvSpPr>
        <p:spPr>
          <a:xfrm>
            <a:off x="946438" y="1947688"/>
            <a:ext cx="6496985" cy="544765"/>
          </a:xfrm>
          <a:prstGeom prst="rect">
            <a:avLst/>
          </a:prstGeom>
          <a:noFill/>
        </p:spPr>
        <p:txBody>
          <a:bodyPr wrap="squar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mmand without |FL parameter</a:t>
            </a:r>
            <a:endParaRPr lang="en-US" sz="2400" dirty="0">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2568E2C1-BB2C-4DBB-BD3C-B8EE12CA0DA0}"/>
              </a:ext>
            </a:extLst>
          </p:cNvPr>
          <p:cNvSpPr txBox="1"/>
          <p:nvPr/>
        </p:nvSpPr>
        <p:spPr>
          <a:xfrm>
            <a:off x="946438" y="2876796"/>
            <a:ext cx="3694670"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mmand with |FL parameter</a:t>
            </a:r>
          </a:p>
        </p:txBody>
      </p:sp>
    </p:spTree>
    <p:extLst>
      <p:ext uri="{BB962C8B-B14F-4D97-AF65-F5344CB8AC3E}">
        <p14:creationId xmlns:p14="http://schemas.microsoft.com/office/powerpoint/2010/main" val="971004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Using |FT to Format Output</a:t>
            </a:r>
          </a:p>
        </p:txBody>
      </p:sp>
      <p:pic>
        <p:nvPicPr>
          <p:cNvPr id="8" name="Content Placeholder 7">
            <a:extLst>
              <a:ext uri="{FF2B5EF4-FFF2-40B4-BE49-F238E27FC236}">
                <a16:creationId xmlns:a16="http://schemas.microsoft.com/office/drawing/2014/main" id="{EFB2F200-A217-4004-8FE9-F9E0970869D4}"/>
              </a:ext>
            </a:extLst>
          </p:cNvPr>
          <p:cNvPicPr>
            <a:picLocks noGrp="1" noChangeAspect="1"/>
          </p:cNvPicPr>
          <p:nvPr>
            <p:ph sz="quarter" idx="13"/>
          </p:nvPr>
        </p:nvPicPr>
        <p:blipFill>
          <a:blip r:embed="rId3"/>
          <a:stretch>
            <a:fillRect/>
          </a:stretch>
        </p:blipFill>
        <p:spPr>
          <a:xfrm>
            <a:off x="906331" y="2484322"/>
            <a:ext cx="10379339" cy="2667231"/>
          </a:xfrm>
          <a:prstGeom prst="rect">
            <a:avLst/>
          </a:prstGeom>
        </p:spPr>
      </p:pic>
    </p:spTree>
    <p:extLst>
      <p:ext uri="{BB962C8B-B14F-4D97-AF65-F5344CB8AC3E}">
        <p14:creationId xmlns:p14="http://schemas.microsoft.com/office/powerpoint/2010/main" val="601567022"/>
      </p:ext>
    </p:extLst>
  </p:cSld>
  <p:clrMapOvr>
    <a:masterClrMapping/>
  </p:clrMapOvr>
  <p:transition>
    <p:fade/>
  </p:transition>
</p:sld>
</file>

<file path=ppt/slides/slide26.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731391515"/>
              </p:ext>
            </p:extLst>
          </p:nvPr>
        </p:nvGraphicFramePr>
        <p:xfrm>
          <a:off x="655637" y="1026098"/>
          <a:ext cx="10880726" cy="55118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a:t>Knowledge Check</a:t>
            </a:r>
            <a:endParaRPr lang="nb-NO"/>
          </a:p>
        </p:txBody>
      </p:sp>
    </p:spTree>
    <p:extLst>
      <p:ext uri="{BB962C8B-B14F-4D97-AF65-F5344CB8AC3E}">
        <p14:creationId xmlns:p14="http://schemas.microsoft.com/office/powerpoint/2010/main" val="2752253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E19422D8-0888-4B03-B8D7-F1FA78FBC98B}"/>
                                            </p:graphicEl>
                                          </p:spTgt>
                                        </p:tgtEl>
                                        <p:attrNameLst>
                                          <p:attrName>style.visibility</p:attrName>
                                        </p:attrNameLst>
                                      </p:cBhvr>
                                      <p:to>
                                        <p:strVal val="visible"/>
                                      </p:to>
                                    </p:set>
                                    <p:anim calcmode="lin" valueType="num">
                                      <p:cBhvr additive="base">
                                        <p:cTn id="7" dur="500" fill="hold"/>
                                        <p:tgtEl>
                                          <p:spTgt spid="4">
                                            <p:graphicEl>
                                              <a:dgm id="{E19422D8-0888-4B03-B8D7-F1FA78FBC98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E19422D8-0888-4B03-B8D7-F1FA78FBC98B}"/>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535D1F27-B19D-41D2-9565-555BD5026A07}"/>
                                            </p:graphicEl>
                                          </p:spTgt>
                                        </p:tgtEl>
                                        <p:attrNameLst>
                                          <p:attrName>style.visibility</p:attrName>
                                        </p:attrNameLst>
                                      </p:cBhvr>
                                      <p:to>
                                        <p:strVal val="visible"/>
                                      </p:to>
                                    </p:set>
                                    <p:anim calcmode="lin" valueType="num">
                                      <p:cBhvr additive="base">
                                        <p:cTn id="13" dur="500" fill="hold"/>
                                        <p:tgtEl>
                                          <p:spTgt spid="4">
                                            <p:graphicEl>
                                              <a:dgm id="{535D1F27-B19D-41D2-9565-555BD5026A07}"/>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535D1F27-B19D-41D2-9565-555BD5026A07}"/>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146D1F55-B418-43AF-A991-B9FC09BE5471}"/>
                                            </p:graphicEl>
                                          </p:spTgt>
                                        </p:tgtEl>
                                        <p:attrNameLst>
                                          <p:attrName>style.visibility</p:attrName>
                                        </p:attrNameLst>
                                      </p:cBhvr>
                                      <p:to>
                                        <p:strVal val="visible"/>
                                      </p:to>
                                    </p:set>
                                    <p:anim calcmode="lin" valueType="num">
                                      <p:cBhvr additive="base">
                                        <p:cTn id="19" dur="500" fill="hold"/>
                                        <p:tgtEl>
                                          <p:spTgt spid="4">
                                            <p:graphicEl>
                                              <a:dgm id="{146D1F55-B418-43AF-A991-B9FC09BE5471}"/>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146D1F55-B418-43AF-A991-B9FC09BE5471}"/>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EDDDC83A-3FD6-4F45-A949-7AF96F3472CC}"/>
                                            </p:graphicEl>
                                          </p:spTgt>
                                        </p:tgtEl>
                                        <p:attrNameLst>
                                          <p:attrName>style.visibility</p:attrName>
                                        </p:attrNameLst>
                                      </p:cBhvr>
                                      <p:to>
                                        <p:strVal val="visible"/>
                                      </p:to>
                                    </p:set>
                                    <p:anim calcmode="lin" valueType="num">
                                      <p:cBhvr additive="base">
                                        <p:cTn id="25" dur="500" fill="hold"/>
                                        <p:tgtEl>
                                          <p:spTgt spid="4">
                                            <p:graphicEl>
                                              <a:dgm id="{EDDDC83A-3FD6-4F45-A949-7AF96F3472C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EDDDC83A-3FD6-4F45-A949-7AF96F3472C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335E8F22-1029-4978-8079-FE218E8985CC}"/>
                                            </p:graphicEl>
                                          </p:spTgt>
                                        </p:tgtEl>
                                        <p:attrNameLst>
                                          <p:attrName>style.visibility</p:attrName>
                                        </p:attrNameLst>
                                      </p:cBhvr>
                                      <p:to>
                                        <p:strVal val="visible"/>
                                      </p:to>
                                    </p:set>
                                    <p:anim calcmode="lin" valueType="num">
                                      <p:cBhvr additive="base">
                                        <p:cTn id="31" dur="500" fill="hold"/>
                                        <p:tgtEl>
                                          <p:spTgt spid="4">
                                            <p:graphicEl>
                                              <a:dgm id="{335E8F22-1029-4978-8079-FE218E8985CC}"/>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335E8F22-1029-4978-8079-FE218E8985CC}"/>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5A82716C-64EF-4BC2-AD61-8232B340EF2A}"/>
                                            </p:graphicEl>
                                          </p:spTgt>
                                        </p:tgtEl>
                                        <p:attrNameLst>
                                          <p:attrName>style.visibility</p:attrName>
                                        </p:attrNameLst>
                                      </p:cBhvr>
                                      <p:to>
                                        <p:strVal val="visible"/>
                                      </p:to>
                                    </p:set>
                                    <p:anim calcmode="lin" valueType="num">
                                      <p:cBhvr additive="base">
                                        <p:cTn id="37" dur="500" fill="hold"/>
                                        <p:tgtEl>
                                          <p:spTgt spid="4">
                                            <p:graphicEl>
                                              <a:dgm id="{5A82716C-64EF-4BC2-AD61-8232B340EF2A}"/>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5A82716C-64EF-4BC2-AD61-8232B340EF2A}"/>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a:t>Summary</a:t>
            </a:r>
          </a:p>
        </p:txBody>
      </p:sp>
      <p:sp>
        <p:nvSpPr>
          <p:cNvPr id="3" name="Content Placeholder 2">
            <a:extLst>
              <a:ext uri="{FF2B5EF4-FFF2-40B4-BE49-F238E27FC236}">
                <a16:creationId xmlns:a16="http://schemas.microsoft.com/office/drawing/2014/main" id="{FE72C9A3-3D4B-4902-9BCA-47A39B7E5108}"/>
              </a:ext>
            </a:extLst>
          </p:cNvPr>
          <p:cNvSpPr>
            <a:spLocks noGrp="1"/>
          </p:cNvSpPr>
          <p:nvPr>
            <p:ph type="body" sz="quarter" idx="10"/>
          </p:nvPr>
        </p:nvSpPr>
        <p:spPr>
          <a:xfrm>
            <a:off x="5008563" y="630238"/>
            <a:ext cx="6527800" cy="5597525"/>
          </a:xfrm>
        </p:spPr>
        <p:txBody>
          <a:bodyPr/>
          <a:lstStyle/>
          <a:p>
            <a:pPr lvl="0"/>
            <a:r>
              <a:rPr lang="en-US" dirty="0"/>
              <a:t>In this lesson, you learned:</a:t>
            </a:r>
            <a:endParaRPr lang="nb-NO" dirty="0"/>
          </a:p>
          <a:p>
            <a:pPr lvl="1"/>
            <a:r>
              <a:rPr lang="en-US" dirty="0"/>
              <a:t>What is the SharePoint Online Management Shell and where to get it</a:t>
            </a:r>
            <a:endParaRPr lang="nb-NO" dirty="0"/>
          </a:p>
          <a:p>
            <a:pPr lvl="1"/>
            <a:r>
              <a:rPr lang="en-US" dirty="0"/>
              <a:t>How to set up the SharePoint Online Management Shell environment and connect to the SharePoint Online service</a:t>
            </a:r>
            <a:endParaRPr lang="nb-NO" dirty="0"/>
          </a:p>
          <a:p>
            <a:pPr lvl="1"/>
            <a:r>
              <a:rPr lang="en-US" dirty="0"/>
              <a:t>How the SharePoint Online Windows PowerShell module can be used to manage a SharePoint Online tenant</a:t>
            </a:r>
            <a:endParaRPr lang="nb-NO" dirty="0"/>
          </a:p>
          <a:p>
            <a:endParaRPr lang="en-US" dirty="0"/>
          </a:p>
        </p:txBody>
      </p:sp>
    </p:spTree>
    <p:extLst>
      <p:ext uri="{BB962C8B-B14F-4D97-AF65-F5344CB8AC3E}">
        <p14:creationId xmlns:p14="http://schemas.microsoft.com/office/powerpoint/2010/main" val="2990495994"/>
      </p:ext>
    </p:extLst>
  </p:cSld>
  <p:clrMapOvr>
    <a:masterClrMapping/>
  </p:clrMapOvr>
  <p:transition>
    <p:fade/>
  </p:transition>
</p:sld>
</file>

<file path=ppt/slides/slide2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630237"/>
            <a:ext cx="4352926" cy="2493962"/>
          </a:xfrm>
        </p:spPr>
        <p:txBody>
          <a:bodyPr/>
          <a:lstStyle/>
          <a:p>
            <a:r>
              <a:rPr lang="en-US" dirty="0"/>
              <a:t>Lab</a:t>
            </a:r>
            <a:endParaRPr lang="nb-NO" dirty="0"/>
          </a:p>
        </p:txBody>
      </p:sp>
      <p:sp>
        <p:nvSpPr>
          <p:cNvPr id="3" name="Text Placeholder 2"/>
          <p:cNvSpPr>
            <a:spLocks noGrp="1"/>
          </p:cNvSpPr>
          <p:nvPr>
            <p:ph type="body" sz="quarter" idx="10"/>
          </p:nvPr>
        </p:nvSpPr>
        <p:spPr>
          <a:xfrm>
            <a:off x="655320" y="3584448"/>
            <a:ext cx="4352925" cy="2643188"/>
          </a:xfrm>
        </p:spPr>
        <p:txBody>
          <a:bodyPr/>
          <a:lstStyle/>
          <a:p>
            <a:r>
              <a:rPr lang="en-US" dirty="0"/>
              <a:t>Using the SharePoint Online Management Shell</a:t>
            </a:r>
            <a:endParaRPr lang="nb-NO" dirty="0"/>
          </a:p>
        </p:txBody>
      </p:sp>
    </p:spTree>
    <p:extLst>
      <p:ext uri="{BB962C8B-B14F-4D97-AF65-F5344CB8AC3E}">
        <p14:creationId xmlns:p14="http://schemas.microsoft.com/office/powerpoint/2010/main" val="1551210400"/>
      </p:ext>
    </p:extLst>
  </p:cSld>
  <p:clrMapOvr>
    <a:masterClrMapping/>
  </p:clrMapOvr>
  <p:transition>
    <p:fade/>
  </p:transition>
</p:sld>
</file>

<file path=ppt/slides/slide2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303628"/>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3FAD2E4-1A60-4581-AC10-F759026DF4AB}"/>
              </a:ext>
            </a:extLst>
          </p:cNvPr>
          <p:cNvSpPr>
            <a:spLocks noGrp="1"/>
          </p:cNvSpPr>
          <p:nvPr>
            <p:ph type="body" sz="quarter" idx="11"/>
          </p:nvPr>
        </p:nvSpPr>
        <p:spPr>
          <a:xfrm>
            <a:off x="5008563" y="630238"/>
            <a:ext cx="6527800" cy="5597524"/>
          </a:xfrm>
        </p:spPr>
        <p:txBody>
          <a:bodyPr/>
          <a:lstStyle/>
          <a:p>
            <a:pPr lvl="0"/>
            <a:r>
              <a:rPr lang="en-IN" dirty="0"/>
              <a:t>After completing this lesson, you will be able to:</a:t>
            </a:r>
            <a:endParaRPr lang="nb-NO" dirty="0"/>
          </a:p>
          <a:p>
            <a:pPr lvl="1"/>
            <a:r>
              <a:rPr lang="en-IN" dirty="0"/>
              <a:t>Describe what the SharePoint Online Management Shell is and where to find it.</a:t>
            </a:r>
            <a:endParaRPr lang="nb-NO" dirty="0"/>
          </a:p>
          <a:p>
            <a:pPr lvl="1"/>
            <a:r>
              <a:rPr lang="en-IN" dirty="0"/>
              <a:t>Describe how to set up the SharePoint Online Management Shell environment and connect to the SharePoint Online service.</a:t>
            </a:r>
            <a:endParaRPr lang="nb-NO" dirty="0"/>
          </a:p>
          <a:p>
            <a:pPr lvl="1"/>
            <a:r>
              <a:rPr lang="en-IN" dirty="0"/>
              <a:t>Describe how to use the SharePoint Online Windows PowerShell module to manage a SharePoint Online tenant.</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en-US"/>
              <a:t>Objective</a:t>
            </a:r>
          </a:p>
        </p:txBody>
      </p:sp>
    </p:spTree>
    <p:extLst>
      <p:ext uri="{BB962C8B-B14F-4D97-AF65-F5344CB8AC3E}">
        <p14:creationId xmlns:p14="http://schemas.microsoft.com/office/powerpoint/2010/main" val="2499937903"/>
      </p:ext>
    </p:extLst>
  </p:cSld>
  <p:clrMapOvr>
    <a:masterClrMapping/>
  </p:clrMapOvr>
  <p:transition>
    <p:fade/>
  </p:transition>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IN" dirty="0"/>
              <a:t>Using the SharePoint Online Management Shell</a:t>
            </a:r>
            <a:endParaRPr lang="nb-NO" dirty="0"/>
          </a:p>
        </p:txBody>
      </p:sp>
    </p:spTree>
    <p:extLst>
      <p:ext uri="{BB962C8B-B14F-4D97-AF65-F5344CB8AC3E}">
        <p14:creationId xmlns:p14="http://schemas.microsoft.com/office/powerpoint/2010/main" val="315017688"/>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Obtaining SharePoint Online Management Shell</a:t>
            </a:r>
          </a:p>
        </p:txBody>
      </p:sp>
      <p:pic>
        <p:nvPicPr>
          <p:cNvPr id="16" name="Picture Placeholder 15">
            <a:extLst>
              <a:ext uri="{FF2B5EF4-FFF2-40B4-BE49-F238E27FC236}">
                <a16:creationId xmlns:a16="http://schemas.microsoft.com/office/drawing/2014/main" id="{158B6A29-8D4F-441F-BB02-4B493A097393}"/>
              </a:ext>
            </a:extLst>
          </p:cNvPr>
          <p:cNvPicPr>
            <a:picLocks noGrp="1" noChangeAspect="1"/>
          </p:cNvPicPr>
          <p:nvPr>
            <p:ph sz="quarter" idx="14"/>
          </p:nvPr>
        </p:nvPicPr>
        <p:blipFill rotWithShape="1">
          <a:blip r:embed="rId3"/>
          <a:stretch/>
        </p:blipFill>
        <p:spPr>
          <a:xfrm>
            <a:off x="6570163" y="1897033"/>
            <a:ext cx="4403772" cy="3014663"/>
          </a:xfrm>
        </p:spPr>
      </p:pic>
      <p:sp>
        <p:nvSpPr>
          <p:cNvPr id="29" name="Content Placeholder 28">
            <a:extLst>
              <a:ext uri="{FF2B5EF4-FFF2-40B4-BE49-F238E27FC236}">
                <a16:creationId xmlns:a16="http://schemas.microsoft.com/office/drawing/2014/main" id="{9469B102-9A22-4E8D-B50C-A07C2CE997BF}"/>
              </a:ext>
            </a:extLst>
          </p:cNvPr>
          <p:cNvSpPr>
            <a:spLocks noGrp="1"/>
          </p:cNvSpPr>
          <p:nvPr>
            <p:ph sz="quarter" idx="15"/>
          </p:nvPr>
        </p:nvSpPr>
        <p:spPr>
          <a:xfrm>
            <a:off x="655638" y="1114283"/>
            <a:ext cx="10880724" cy="921411"/>
          </a:xfrm>
        </p:spPr>
        <p:txBody>
          <a:bodyPr/>
          <a:lstStyle/>
          <a:p>
            <a:pPr lvl="0"/>
            <a:r>
              <a:rPr lang="en-IN" dirty="0"/>
              <a:t>Perform an Internet search for Download SharePoint Online Management Shell</a:t>
            </a:r>
            <a:endParaRPr lang="nb-NO" dirty="0"/>
          </a:p>
          <a:p>
            <a:pPr lvl="0"/>
            <a:r>
              <a:rPr lang="en-IN" dirty="0"/>
              <a:t>Download and Run as Administrator</a:t>
            </a:r>
            <a:endParaRPr lang="nb-NO" dirty="0"/>
          </a:p>
        </p:txBody>
      </p:sp>
      <p:pic>
        <p:nvPicPr>
          <p:cNvPr id="30" name="Picture Placeholder 16">
            <a:extLst>
              <a:ext uri="{FF2B5EF4-FFF2-40B4-BE49-F238E27FC236}">
                <a16:creationId xmlns:a16="http://schemas.microsoft.com/office/drawing/2014/main" id="{F261821D-1C5D-47A4-99F6-4FF23AF06361}"/>
              </a:ext>
            </a:extLst>
          </p:cNvPr>
          <p:cNvPicPr>
            <a:picLocks noGrp="1" noChangeAspect="1"/>
          </p:cNvPicPr>
          <p:nvPr>
            <p:ph sz="quarter" idx="13"/>
          </p:nvPr>
        </p:nvPicPr>
        <p:blipFill rotWithShape="1">
          <a:blip r:embed="rId4"/>
          <a:stretch/>
        </p:blipFill>
        <p:spPr>
          <a:xfrm>
            <a:off x="835044" y="2035694"/>
            <a:ext cx="4682134" cy="2737341"/>
          </a:xfrm>
        </p:spPr>
      </p:pic>
      <p:sp>
        <p:nvSpPr>
          <p:cNvPr id="32" name="Rectangle 31">
            <a:extLst>
              <a:ext uri="{FF2B5EF4-FFF2-40B4-BE49-F238E27FC236}">
                <a16:creationId xmlns:a16="http://schemas.microsoft.com/office/drawing/2014/main" id="{B619581A-2F8D-45DD-95B8-3832BCBB4D7B}"/>
              </a:ext>
            </a:extLst>
          </p:cNvPr>
          <p:cNvSpPr/>
          <p:nvPr/>
        </p:nvSpPr>
        <p:spPr>
          <a:xfrm>
            <a:off x="615589" y="4986721"/>
            <a:ext cx="11155060" cy="1692771"/>
          </a:xfrm>
          <a:prstGeom prst="rect">
            <a:avLst/>
          </a:prstGeom>
        </p:spPr>
        <p:txBody>
          <a:bodyPr wrap="square">
            <a:spAutoFit/>
          </a:bodyPr>
          <a:lstStyle/>
          <a:p>
            <a:r>
              <a:rPr lang="en-US" sz="1600" dirty="0"/>
              <a:t>The SharePoint Online Management Shell can also be installed using </a:t>
            </a:r>
            <a:r>
              <a:rPr lang="en-US" sz="1600" dirty="0" err="1"/>
              <a:t>PSGet</a:t>
            </a:r>
            <a:r>
              <a:rPr lang="en-US" sz="1600" dirty="0"/>
              <a:t> (</a:t>
            </a:r>
            <a:r>
              <a:rPr lang="en-US" sz="1600" b="1" dirty="0"/>
              <a:t>Recommendation is to get latest version on regular basis to get new cmdlets</a:t>
            </a:r>
            <a:r>
              <a:rPr lang="en-US" sz="1600" dirty="0"/>
              <a:t>)</a:t>
            </a:r>
          </a:p>
          <a:p>
            <a:r>
              <a:rPr lang="en-US" sz="1600" dirty="0"/>
              <a:t> </a:t>
            </a:r>
          </a:p>
          <a:p>
            <a:r>
              <a:rPr lang="en-US" sz="1400" b="1" dirty="0"/>
              <a:t>Install-Module -Name </a:t>
            </a:r>
            <a:r>
              <a:rPr lang="en-US" sz="1400" b="1" dirty="0" err="1"/>
              <a:t>Microsoft.Online.SharePoint.PowerShell</a:t>
            </a:r>
            <a:endParaRPr lang="en-US" sz="1400" b="1" dirty="0"/>
          </a:p>
          <a:p>
            <a:endParaRPr lang="en-US" sz="1400" dirty="0"/>
          </a:p>
          <a:p>
            <a:r>
              <a:rPr lang="en-US" sz="1400" dirty="0"/>
              <a:t>See </a:t>
            </a:r>
            <a:r>
              <a:rPr lang="en-US" sz="1400" dirty="0">
                <a:hlinkClick r:id="rId5"/>
              </a:rPr>
              <a:t>https://docs.microsoft.com/en-us/powershell/sharepoint/sharepoint-online/connect-sharepoint-online?view=sharepoint-ps</a:t>
            </a:r>
            <a:endParaRPr lang="en-US" sz="1400" dirty="0"/>
          </a:p>
          <a:p>
            <a:endParaRPr lang="en-US" sz="1400" dirty="0"/>
          </a:p>
        </p:txBody>
      </p:sp>
    </p:spTree>
    <p:extLst>
      <p:ext uri="{BB962C8B-B14F-4D97-AF65-F5344CB8AC3E}">
        <p14:creationId xmlns:p14="http://schemas.microsoft.com/office/powerpoint/2010/main" val="3987985474"/>
      </p:ext>
    </p:extLst>
  </p:cSld>
  <p:clrMapOvr>
    <a:masterClrMapping/>
  </p:clrMapOvr>
  <p:transition>
    <p:fade/>
  </p:transition>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Connect and Disconnect to SPOService</a:t>
            </a:r>
          </a:p>
        </p:txBody>
      </p:sp>
      <p:graphicFrame>
        <p:nvGraphicFramePr>
          <p:cNvPr id="9" name="Diagram 8">
            <a:extLst>
              <a:ext uri="{FF2B5EF4-FFF2-40B4-BE49-F238E27FC236}">
                <a16:creationId xmlns:a16="http://schemas.microsoft.com/office/drawing/2014/main" id="{BB54107E-27E1-4B6F-9011-94D25980DC68}"/>
              </a:ext>
            </a:extLst>
          </p:cNvPr>
          <p:cNvGraphicFramePr/>
          <p:nvPr>
            <p:extLst>
              <p:ext uri="{D42A27DB-BD31-4B8C-83A1-F6EECF244321}">
                <p14:modId xmlns:p14="http://schemas.microsoft.com/office/powerpoint/2010/main" val="2294858531"/>
              </p:ext>
            </p:extLst>
          </p:nvPr>
        </p:nvGraphicFramePr>
        <p:xfrm>
          <a:off x="655638" y="1855281"/>
          <a:ext cx="10943018" cy="37896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57869314"/>
      </p:ext>
    </p:extLst>
  </p:cSld>
  <p:clrMapOvr>
    <a:masterClrMapping/>
  </p:clrMapOvr>
  <p:transition>
    <p:fade/>
  </p:transition>
</p:sld>
</file>

<file path=ppt/slides/slide8.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817204681"/>
              </p:ext>
            </p:extLst>
          </p:nvPr>
        </p:nvGraphicFramePr>
        <p:xfrm>
          <a:off x="269240" y="1189177"/>
          <a:ext cx="10855960" cy="517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SharePoint Online Management Shell Cmdlets</a:t>
            </a:r>
          </a:p>
        </p:txBody>
      </p:sp>
      <p:pic>
        <p:nvPicPr>
          <p:cNvPr id="9" name="Content Placeholder 8">
            <a:extLst>
              <a:ext uri="{FF2B5EF4-FFF2-40B4-BE49-F238E27FC236}">
                <a16:creationId xmlns:a16="http://schemas.microsoft.com/office/drawing/2014/main" id="{CEA982F1-53F6-47F2-A3FF-DD26817A1D04}"/>
              </a:ext>
            </a:extLst>
          </p:cNvPr>
          <p:cNvPicPr>
            <a:picLocks noGrp="1" noChangeAspect="1"/>
          </p:cNvPicPr>
          <p:nvPr>
            <p:ph sz="quarter" idx="13"/>
          </p:nvPr>
        </p:nvPicPr>
        <p:blipFill>
          <a:blip r:embed="rId8"/>
          <a:stretch>
            <a:fillRect/>
          </a:stretch>
        </p:blipFill>
        <p:spPr>
          <a:xfrm>
            <a:off x="3151253" y="1769809"/>
            <a:ext cx="5889494" cy="4819650"/>
          </a:xfrm>
          <a:prstGeom prst="rect">
            <a:avLst/>
          </a:prstGeom>
        </p:spPr>
      </p:pic>
    </p:spTree>
    <p:extLst>
      <p:ext uri="{BB962C8B-B14F-4D97-AF65-F5344CB8AC3E}">
        <p14:creationId xmlns:p14="http://schemas.microsoft.com/office/powerpoint/2010/main" val="2966768656"/>
      </p:ext>
    </p:extLst>
  </p:cSld>
  <p:clrMapOvr>
    <a:masterClrMapping/>
  </p:clrMapOvr>
  <p:transition>
    <p:fade/>
  </p:transition>
</p:sld>
</file>

<file path=ppt/slides/slide9.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630766935"/>
              </p:ext>
            </p:extLst>
          </p:nvPr>
        </p:nvGraphicFramePr>
        <p:xfrm>
          <a:off x="655638" y="1197305"/>
          <a:ext cx="10880725" cy="4830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a:t>User Account Management</a:t>
            </a:r>
          </a:p>
        </p:txBody>
      </p:sp>
    </p:spTree>
    <p:extLst>
      <p:ext uri="{BB962C8B-B14F-4D97-AF65-F5344CB8AC3E}">
        <p14:creationId xmlns:p14="http://schemas.microsoft.com/office/powerpoint/2010/main" val="526965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211D8D8D-64AB-4EF4-A033-DF1B62C3FA69}"/>
                                            </p:graphicEl>
                                          </p:spTgt>
                                        </p:tgtEl>
                                        <p:attrNameLst>
                                          <p:attrName>style.visibility</p:attrName>
                                        </p:attrNameLst>
                                      </p:cBhvr>
                                      <p:to>
                                        <p:strVal val="visible"/>
                                      </p:to>
                                    </p:set>
                                    <p:anim calcmode="lin" valueType="num">
                                      <p:cBhvr additive="base">
                                        <p:cTn id="7" dur="500" fill="hold"/>
                                        <p:tgtEl>
                                          <p:spTgt spid="3">
                                            <p:graphicEl>
                                              <a:dgm id="{211D8D8D-64AB-4EF4-A033-DF1B62C3FA69}"/>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211D8D8D-64AB-4EF4-A033-DF1B62C3FA69}"/>
                                            </p:graphic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graphicEl>
                                              <a:dgm id="{45AFBD70-A49A-4437-9B50-566A7513C31D}"/>
                                            </p:graphicEl>
                                          </p:spTgt>
                                        </p:tgtEl>
                                        <p:attrNameLst>
                                          <p:attrName>style.visibility</p:attrName>
                                        </p:attrNameLst>
                                      </p:cBhvr>
                                      <p:to>
                                        <p:strVal val="visible"/>
                                      </p:to>
                                    </p:set>
                                    <p:anim calcmode="lin" valueType="num">
                                      <p:cBhvr additive="base">
                                        <p:cTn id="11" dur="500" fill="hold"/>
                                        <p:tgtEl>
                                          <p:spTgt spid="3">
                                            <p:graphicEl>
                                              <a:dgm id="{45AFBD70-A49A-4437-9B50-566A7513C31D}"/>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graphicEl>
                                              <a:dgm id="{45AFBD70-A49A-4437-9B50-566A7513C31D}"/>
                                            </p:graphic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graphicEl>
                                              <a:dgm id="{D8FB4D3C-FA37-42EC-BB69-8A25BC874D6C}"/>
                                            </p:graphicEl>
                                          </p:spTgt>
                                        </p:tgtEl>
                                        <p:attrNameLst>
                                          <p:attrName>style.visibility</p:attrName>
                                        </p:attrNameLst>
                                      </p:cBhvr>
                                      <p:to>
                                        <p:strVal val="visible"/>
                                      </p:to>
                                    </p:set>
                                    <p:anim calcmode="lin" valueType="num">
                                      <p:cBhvr additive="base">
                                        <p:cTn id="17" dur="500" fill="hold"/>
                                        <p:tgtEl>
                                          <p:spTgt spid="3">
                                            <p:graphicEl>
                                              <a:dgm id="{D8FB4D3C-FA37-42EC-BB69-8A25BC874D6C}"/>
                                            </p:graphic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graphicEl>
                                              <a:dgm id="{D8FB4D3C-FA37-42EC-BB69-8A25BC874D6C}"/>
                                            </p:graphicEl>
                                          </p:spTgt>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
                                            <p:graphicEl>
                                              <a:dgm id="{194E361B-D9C6-47BD-81D8-4D9E1E610039}"/>
                                            </p:graphicEl>
                                          </p:spTgt>
                                        </p:tgtEl>
                                        <p:attrNameLst>
                                          <p:attrName>style.visibility</p:attrName>
                                        </p:attrNameLst>
                                      </p:cBhvr>
                                      <p:to>
                                        <p:strVal val="visible"/>
                                      </p:to>
                                    </p:set>
                                    <p:anim calcmode="lin" valueType="num">
                                      <p:cBhvr additive="base">
                                        <p:cTn id="21" dur="500" fill="hold"/>
                                        <p:tgtEl>
                                          <p:spTgt spid="3">
                                            <p:graphicEl>
                                              <a:dgm id="{194E361B-D9C6-47BD-81D8-4D9E1E610039}"/>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graphicEl>
                                              <a:dgm id="{194E361B-D9C6-47BD-81D8-4D9E1E610039}"/>
                                            </p:graphic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graphicEl>
                                              <a:dgm id="{955E4765-7A0A-4D69-BC15-341BA4E1677E}"/>
                                            </p:graphicEl>
                                          </p:spTgt>
                                        </p:tgtEl>
                                        <p:attrNameLst>
                                          <p:attrName>style.visibility</p:attrName>
                                        </p:attrNameLst>
                                      </p:cBhvr>
                                      <p:to>
                                        <p:strVal val="visible"/>
                                      </p:to>
                                    </p:set>
                                    <p:anim calcmode="lin" valueType="num">
                                      <p:cBhvr additive="base">
                                        <p:cTn id="27" dur="500" fill="hold"/>
                                        <p:tgtEl>
                                          <p:spTgt spid="3">
                                            <p:graphicEl>
                                              <a:dgm id="{955E4765-7A0A-4D69-BC15-341BA4E1677E}"/>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graphicEl>
                                              <a:dgm id="{955E4765-7A0A-4D69-BC15-341BA4E1677E}"/>
                                            </p:graphic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graphicEl>
                                              <a:dgm id="{417239AC-CA82-4757-92F4-240B446EE8E7}"/>
                                            </p:graphicEl>
                                          </p:spTgt>
                                        </p:tgtEl>
                                        <p:attrNameLst>
                                          <p:attrName>style.visibility</p:attrName>
                                        </p:attrNameLst>
                                      </p:cBhvr>
                                      <p:to>
                                        <p:strVal val="visible"/>
                                      </p:to>
                                    </p:set>
                                    <p:anim calcmode="lin" valueType="num">
                                      <p:cBhvr additive="base">
                                        <p:cTn id="31" dur="500" fill="hold"/>
                                        <p:tgtEl>
                                          <p:spTgt spid="3">
                                            <p:graphicEl>
                                              <a:dgm id="{417239AC-CA82-4757-92F4-240B446EE8E7}"/>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417239AC-CA82-4757-92F4-240B446EE8E7}"/>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726B4376-B666-45E0-B9DF-AF983DDA1FE0}"/>
                                            </p:graphicEl>
                                          </p:spTgt>
                                        </p:tgtEl>
                                        <p:attrNameLst>
                                          <p:attrName>style.visibility</p:attrName>
                                        </p:attrNameLst>
                                      </p:cBhvr>
                                      <p:to>
                                        <p:strVal val="visible"/>
                                      </p:to>
                                    </p:set>
                                    <p:anim calcmode="lin" valueType="num">
                                      <p:cBhvr additive="base">
                                        <p:cTn id="37" dur="500" fill="hold"/>
                                        <p:tgtEl>
                                          <p:spTgt spid="3">
                                            <p:graphicEl>
                                              <a:dgm id="{726B4376-B666-45E0-B9DF-AF983DDA1FE0}"/>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726B4376-B666-45E0-B9DF-AF983DDA1FE0}"/>
                                            </p:graphic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
                                            <p:graphicEl>
                                              <a:dgm id="{86DB398D-C7DB-432A-98B9-9977903F9683}"/>
                                            </p:graphicEl>
                                          </p:spTgt>
                                        </p:tgtEl>
                                        <p:attrNameLst>
                                          <p:attrName>style.visibility</p:attrName>
                                        </p:attrNameLst>
                                      </p:cBhvr>
                                      <p:to>
                                        <p:strVal val="visible"/>
                                      </p:to>
                                    </p:set>
                                    <p:anim calcmode="lin" valueType="num">
                                      <p:cBhvr additive="base">
                                        <p:cTn id="41" dur="500" fill="hold"/>
                                        <p:tgtEl>
                                          <p:spTgt spid="3">
                                            <p:graphicEl>
                                              <a:dgm id="{86DB398D-C7DB-432A-98B9-9977903F9683}"/>
                                            </p:graphic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graphicEl>
                                              <a:dgm id="{86DB398D-C7DB-432A-98B9-9977903F9683}"/>
                                            </p:graphic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graphicEl>
                                              <a:dgm id="{C737AAFF-6AD3-4EED-BB0D-54595A00E340}"/>
                                            </p:graphicEl>
                                          </p:spTgt>
                                        </p:tgtEl>
                                        <p:attrNameLst>
                                          <p:attrName>style.visibility</p:attrName>
                                        </p:attrNameLst>
                                      </p:cBhvr>
                                      <p:to>
                                        <p:strVal val="visible"/>
                                      </p:to>
                                    </p:set>
                                    <p:anim calcmode="lin" valueType="num">
                                      <p:cBhvr additive="base">
                                        <p:cTn id="47" dur="500" fill="hold"/>
                                        <p:tgtEl>
                                          <p:spTgt spid="3">
                                            <p:graphicEl>
                                              <a:dgm id="{C737AAFF-6AD3-4EED-BB0D-54595A00E340}"/>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graphicEl>
                                              <a:dgm id="{C737AAFF-6AD3-4EED-BB0D-54595A00E340}"/>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ark Blue.potx" id="{8C06F02B-C04B-4159-9238-07A4741BCCEC}" vid="{2BE9D8A6-2ABB-45AB-B72C-796BED035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610565-5432-443A-949C-1AF36F44217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2688ED8-6D57-4B66-8AF2-5064F44FECE1}">
  <ds:schemaRefs>
    <ds:schemaRef ds:uri="http://schemas.microsoft.com/sharepoint/v3/contenttype/forms"/>
  </ds:schemaRefs>
</ds:datastoreItem>
</file>

<file path=customXml/itemProps3.xml><?xml version="1.0" encoding="utf-8"?>
<ds:datastoreItem xmlns:ds="http://schemas.openxmlformats.org/officeDocument/2006/customXml" ds:itemID="{FDFC175A-AC12-4E7B-8B27-4E5E7494FD22}"/>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3903</Words>
  <Application>Microsoft Office PowerPoint</Application>
  <PresentationFormat>Widescreen</PresentationFormat>
  <Paragraphs>409</Paragraphs>
  <Slides>29</Slides>
  <Notes>29</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9</vt:i4>
      </vt:variant>
    </vt:vector>
  </HeadingPairs>
  <TitlesOfParts>
    <vt:vector size="39" baseType="lpstr">
      <vt:lpstr>&amp;quot</vt:lpstr>
      <vt:lpstr>Arial</vt:lpstr>
      <vt:lpstr>Calibri</vt:lpstr>
      <vt:lpstr>Calibri Light</vt:lpstr>
      <vt:lpstr>Comic Sans MS</vt:lpstr>
      <vt:lpstr>Consolas</vt:lpstr>
      <vt:lpstr>Segoe UI</vt:lpstr>
      <vt:lpstr>Segoe UI Semibold</vt:lpstr>
      <vt:lpstr>Wingdings</vt:lpstr>
      <vt:lpstr>Dark Blue</vt:lpstr>
      <vt:lpstr>How to use SharePoint Online Management Shell</vt:lpstr>
      <vt:lpstr>PowerPoint Presentation</vt:lpstr>
      <vt:lpstr>Students: How to View This Presentation</vt:lpstr>
      <vt:lpstr>Objective</vt:lpstr>
      <vt:lpstr>Using the SharePoint Online Management Shell</vt:lpstr>
      <vt:lpstr>Obtaining SharePoint Online Management Shell</vt:lpstr>
      <vt:lpstr>Connect and Disconnect to SPOService</vt:lpstr>
      <vt:lpstr>SharePoint Online Management Shell Cmdlets</vt:lpstr>
      <vt:lpstr>User Account Management</vt:lpstr>
      <vt:lpstr>External User Management</vt:lpstr>
      <vt:lpstr>SharePoint Site Group Management</vt:lpstr>
      <vt:lpstr>Site Collection Management</vt:lpstr>
      <vt:lpstr>Creating Site Collections</vt:lpstr>
      <vt:lpstr>Configuring Site Collections</vt:lpstr>
      <vt:lpstr>SharePoint Online Tenant Level Management</vt:lpstr>
      <vt:lpstr>SharePoint Online Tenant Level Management (continued)</vt:lpstr>
      <vt:lpstr>SharePoint Online Tenant Level Management (continued)</vt:lpstr>
      <vt:lpstr>Managing Tenant Level External User Access </vt:lpstr>
      <vt:lpstr>Managing SPO Site Level External User Access </vt:lpstr>
      <vt:lpstr>Tenant Level External Sharing Domain Restriction</vt:lpstr>
      <vt:lpstr>Demonstration</vt:lpstr>
      <vt:lpstr>Basic Windows PowerShell Commands </vt:lpstr>
      <vt:lpstr>Get-Help</vt:lpstr>
      <vt:lpstr>Using |FL to Format Output </vt:lpstr>
      <vt:lpstr>Using |FT to Format Output</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49:22.0000000Z</dcterms:created>
  <dcterms:modified xsi:type="dcterms:W3CDTF">2021-09-03T20:45:42.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